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comments/modernComment_A3E_89B4807F.xml" ContentType="application/vnd.ms-powerpoint.comment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30"/>
  </p:notesMasterIdLst>
  <p:sldIdLst>
    <p:sldId id="2598" r:id="rId2"/>
    <p:sldId id="2607" r:id="rId3"/>
    <p:sldId id="2612" r:id="rId4"/>
    <p:sldId id="2640" r:id="rId5"/>
    <p:sldId id="2579" r:id="rId6"/>
    <p:sldId id="2637" r:id="rId7"/>
    <p:sldId id="2639" r:id="rId8"/>
    <p:sldId id="2615" r:id="rId9"/>
    <p:sldId id="2638" r:id="rId10"/>
    <p:sldId id="2617" r:id="rId11"/>
    <p:sldId id="2618" r:id="rId12"/>
    <p:sldId id="2613" r:id="rId13"/>
    <p:sldId id="2619" r:id="rId14"/>
    <p:sldId id="2620" r:id="rId15"/>
    <p:sldId id="2621" r:id="rId16"/>
    <p:sldId id="2623" r:id="rId17"/>
    <p:sldId id="2622" r:id="rId18"/>
    <p:sldId id="2625" r:id="rId19"/>
    <p:sldId id="2626" r:id="rId20"/>
    <p:sldId id="2629" r:id="rId21"/>
    <p:sldId id="2631" r:id="rId22"/>
    <p:sldId id="2627" r:id="rId23"/>
    <p:sldId id="2632" r:id="rId24"/>
    <p:sldId id="2633" r:id="rId25"/>
    <p:sldId id="2628" r:id="rId26"/>
    <p:sldId id="2635" r:id="rId27"/>
    <p:sldId id="2634" r:id="rId28"/>
    <p:sldId id="2593" r:id="rId29"/>
  </p:sldIdLst>
  <p:sldSz cx="12192000" cy="6858000"/>
  <p:notesSz cx="6858000" cy="9144000"/>
  <p:custDataLst>
    <p:tags r:id="rId3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elfolien" id="{3E6C9EF1-D882-4C55-A08F-244A762B696A}">
          <p14:sldIdLst>
            <p14:sldId id="2598"/>
            <p14:sldId id="2607"/>
            <p14:sldId id="2612"/>
            <p14:sldId id="2640"/>
            <p14:sldId id="2579"/>
            <p14:sldId id="2637"/>
            <p14:sldId id="2639"/>
            <p14:sldId id="2615"/>
            <p14:sldId id="2638"/>
            <p14:sldId id="2617"/>
            <p14:sldId id="2618"/>
            <p14:sldId id="2613"/>
            <p14:sldId id="2619"/>
            <p14:sldId id="2620"/>
            <p14:sldId id="2621"/>
            <p14:sldId id="2623"/>
            <p14:sldId id="2622"/>
            <p14:sldId id="2625"/>
            <p14:sldId id="2626"/>
            <p14:sldId id="2629"/>
            <p14:sldId id="2631"/>
            <p14:sldId id="2627"/>
            <p14:sldId id="2632"/>
            <p14:sldId id="2633"/>
            <p14:sldId id="2628"/>
            <p14:sldId id="2635"/>
            <p14:sldId id="2634"/>
            <p14:sldId id="2593"/>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0416334-3176-8CA7-2615-79F961CC7779}" name="Luca Alfano" initials="LA" userId="Luca Alfano" providerId="None"/>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AD007C"/>
    <a:srgbClr val="80C535"/>
    <a:srgbClr val="E7B457"/>
    <a:srgbClr val="47DAF7"/>
    <a:srgbClr val="B1B50B"/>
    <a:srgbClr val="9A9A16"/>
    <a:srgbClr val="59A798"/>
    <a:srgbClr val="969696"/>
    <a:srgbClr val="C8C8C8"/>
    <a:srgbClr val="5050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90B7C33E-B3DF-4F67-93CD-F8DFB2F92803}">
  <a:tblStyle styleId="{90B7C33E-B3DF-4F67-93CD-F8DFB2F92803}" styleName="Uni Augsburg TableStyle">
    <a:wholeTbl>
      <a:tcTxStyle>
        <a:fontRef idx="minor">
          <a:prstClr val="black"/>
        </a:fontRef>
        <a:schemeClr val="dk1"/>
      </a:tcTxStyle>
      <a:tcStyle>
        <a:tcBdr>
          <a:left>
            <a:ln w="0" cmpd="sng">
              <a:solidFill>
                <a:schemeClr val="accent1"/>
              </a:solidFill>
            </a:ln>
          </a:left>
          <a:right>
            <a:ln w="0" cmpd="sng">
              <a:solidFill>
                <a:schemeClr val="accent1"/>
              </a:solidFill>
            </a:ln>
          </a:right>
          <a:top>
            <a:ln w="0" cmpd="sng">
              <a:solidFill>
                <a:schemeClr val="accent1"/>
              </a:solidFill>
            </a:ln>
          </a:top>
          <a:bottom>
            <a:ln w="0" cmpd="sng">
              <a:solidFill>
                <a:schemeClr val="accent1"/>
              </a:solidFill>
            </a:ln>
          </a:bottom>
          <a:insideH>
            <a:ln w="6350" cmpd="sng">
              <a:solidFill>
                <a:schemeClr val="accent1"/>
              </a:solidFill>
            </a:ln>
          </a:insideH>
          <a:insideV>
            <a:ln w="6350" cmpd="sng">
              <a:solidFill>
                <a:schemeClr val="accent1"/>
              </a:solidFill>
            </a:ln>
          </a:insideV>
        </a:tcBdr>
        <a:fill>
          <a:solidFill>
            <a:schemeClr val="lt1"/>
          </a:solidFill>
        </a:fill>
      </a:tcStyle>
    </a:wholeTbl>
    <a:band1H>
      <a:tcStyle>
        <a:tcBdr>
          <a:top>
            <a:ln w="0" cmpd="sng">
              <a:solidFill>
                <a:schemeClr val="accent1"/>
              </a:solidFill>
            </a:ln>
          </a:top>
          <a:bottom>
            <a:ln w="0" cmpd="sng">
              <a:solidFill>
                <a:schemeClr val="accent1"/>
              </a:solidFill>
            </a:ln>
          </a:bottom>
        </a:tcBdr>
        <a:fill>
          <a:solidFill>
            <a:schemeClr val="lt1"/>
          </a:solidFill>
        </a:fill>
      </a:tcStyle>
    </a:band1H>
    <a:band2H>
      <a:tcStyle>
        <a:tcBdr>
          <a:top>
            <a:ln w="0" cmpd="sng">
              <a:solidFill>
                <a:schemeClr val="accent1"/>
              </a:solidFill>
            </a:ln>
          </a:top>
          <a:bottom>
            <a:ln w="0" cmpd="sng">
              <a:solidFill>
                <a:schemeClr val="accent1"/>
              </a:solidFill>
            </a:ln>
          </a:bottom>
        </a:tcBdr>
        <a:fill>
          <a:solidFill>
            <a:schemeClr val="accent1">
              <a:tint val="30000"/>
            </a:schemeClr>
          </a:solidFill>
        </a:fill>
      </a:tcStyle>
    </a:band2H>
    <a:band1V>
      <a:tcStyle>
        <a:tcBdr>
          <a:left>
            <a:ln w="0" cmpd="sng">
              <a:solidFill>
                <a:schemeClr val="accent1"/>
              </a:solidFill>
            </a:ln>
          </a:left>
          <a:right>
            <a:ln w="0" cmpd="sng">
              <a:solidFill>
                <a:schemeClr val="accent1"/>
              </a:solidFill>
            </a:ln>
          </a:right>
        </a:tcBdr>
        <a:fill>
          <a:solidFill>
            <a:schemeClr val="lt1"/>
          </a:solidFill>
        </a:fill>
      </a:tcStyle>
    </a:band1V>
    <a:band2V>
      <a:tcStyle>
        <a:tcBdr>
          <a:left>
            <a:ln w="0" cmpd="sng">
              <a:solidFill>
                <a:schemeClr val="accent1"/>
              </a:solidFill>
            </a:ln>
          </a:left>
          <a:right>
            <a:ln w="0" cmpd="sng">
              <a:solidFill>
                <a:schemeClr val="accent1"/>
              </a:solidFill>
            </a:ln>
          </a:right>
        </a:tcBdr>
        <a:fill>
          <a:solidFill>
            <a:schemeClr val="accent1">
              <a:tint val="30000"/>
            </a:schemeClr>
          </a:solidFill>
        </a:fill>
      </a:tcStyle>
    </a:band2V>
    <a:lastCol>
      <a:tcTxStyle b="off">
        <a:fontRef idx="minor">
          <a:prstClr val="black"/>
        </a:fontRef>
        <a:schemeClr val="lt1"/>
      </a:tcTxStyle>
      <a:tcStyle>
        <a:tcBdr>
          <a:insideH>
            <a:ln w="6350" cmpd="sng">
              <a:solidFill>
                <a:schemeClr val="dk2">
                  <a:tint val="30000"/>
                </a:schemeClr>
              </a:solidFill>
            </a:ln>
          </a:insideH>
        </a:tcBdr>
        <a:fill>
          <a:solidFill>
            <a:schemeClr val="dk2">
              <a:lumMod val="75000"/>
            </a:schemeClr>
          </a:solidFill>
        </a:fill>
      </a:tcStyle>
    </a:lastCol>
    <a:firstCol>
      <a:tcTxStyle b="off">
        <a:fontRef idx="minor">
          <a:prstClr val="black"/>
        </a:fontRef>
        <a:schemeClr val="lt1"/>
      </a:tcTxStyle>
      <a:tcStyle>
        <a:tcBdr>
          <a:insideH>
            <a:ln w="6350" cmpd="sng">
              <a:solidFill>
                <a:schemeClr val="dk2">
                  <a:tint val="30000"/>
                </a:schemeClr>
              </a:solidFill>
            </a:ln>
          </a:insideH>
        </a:tcBdr>
        <a:fill>
          <a:solidFill>
            <a:schemeClr val="dk2"/>
          </a:solidFill>
        </a:fill>
      </a:tcStyle>
    </a:firstCol>
    <a:lastRow>
      <a:tcTxStyle b="off">
        <a:fontRef idx="minor">
          <a:prstClr val="black"/>
        </a:fontRef>
        <a:schemeClr val="lt1"/>
      </a:tcTxStyle>
      <a:tcStyle>
        <a:tcBdr>
          <a:top>
            <a:ln w="6350" cmpd="sng">
              <a:solidFill>
                <a:schemeClr val="dk2">
                  <a:tint val="30000"/>
                </a:schemeClr>
              </a:solidFill>
            </a:ln>
          </a:top>
          <a:insideV>
            <a:ln w="6350" cmpd="sng">
              <a:solidFill>
                <a:schemeClr val="dk2">
                  <a:tint val="30000"/>
                </a:schemeClr>
              </a:solidFill>
            </a:ln>
          </a:insideV>
        </a:tcBdr>
        <a:fill>
          <a:solidFill>
            <a:schemeClr val="dk2">
              <a:lumMod val="75000"/>
            </a:schemeClr>
          </a:solidFill>
        </a:fill>
      </a:tcStyle>
    </a:lastRow>
    <a:firstRow>
      <a:tcTxStyle b="off">
        <a:fontRef idx="minor">
          <a:prstClr val="black"/>
        </a:fontRef>
        <a:schemeClr val="lt1"/>
      </a:tcTxStyle>
      <a:tcStyle>
        <a:tcBdr>
          <a:bottom>
            <a:ln w="6350" cmpd="sng">
              <a:solidFill>
                <a:schemeClr val="dk2">
                  <a:tint val="40000"/>
                </a:schemeClr>
              </a:solidFill>
            </a:ln>
          </a:bottom>
          <a:insideV>
            <a:ln w="6350" cmpd="sng">
              <a:solidFill>
                <a:schemeClr val="dk2">
                  <a:tint val="40000"/>
                </a:schemeClr>
              </a:solidFill>
            </a:ln>
          </a:insideV>
        </a:tcBdr>
        <a:fill>
          <a:solidFill>
            <a:schemeClr val="dk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6357" autoAdjust="0"/>
  </p:normalViewPr>
  <p:slideViewPr>
    <p:cSldViewPr snapToGrid="0">
      <p:cViewPr varScale="1">
        <p:scale>
          <a:sx n="104" d="100"/>
          <a:sy n="104" d="100"/>
        </p:scale>
        <p:origin x="144" y="234"/>
      </p:cViewPr>
      <p:guideLst/>
    </p:cSldViewPr>
  </p:slideViewPr>
  <p:outlineViewPr>
    <p:cViewPr>
      <p:scale>
        <a:sx n="33" d="100"/>
        <a:sy n="33" d="100"/>
      </p:scale>
      <p:origin x="0" y="-282"/>
    </p:cViewPr>
    <p:sldLst>
      <p:sld r:id="rId1" collapse="1"/>
      <p:sld r:id="rId2" collapse="1"/>
      <p:sld r:id="rId3" collapse="1"/>
      <p:sld r:id="rId4" collapse="1"/>
      <p:sld r:id="rId5" collapse="1"/>
      <p:sld r:id="rId6" collapse="1"/>
    </p:sldLst>
  </p:outlineViewPr>
  <p:notesTextViewPr>
    <p:cViewPr>
      <p:scale>
        <a:sx n="1" d="1"/>
        <a:sy n="1" d="1"/>
      </p:scale>
      <p:origin x="0" y="0"/>
    </p:cViewPr>
  </p:notesTextViewPr>
  <p:sorterViewPr>
    <p:cViewPr>
      <p:scale>
        <a:sx n="40" d="100"/>
        <a:sy n="40" d="100"/>
      </p:scale>
      <p:origin x="0" y="0"/>
    </p:cViewPr>
  </p:sorterViewPr>
  <p:notesViewPr>
    <p:cSldViewPr snapToGrid="0">
      <p:cViewPr varScale="1">
        <p:scale>
          <a:sx n="87" d="100"/>
          <a:sy n="87" d="100"/>
        </p:scale>
        <p:origin x="3840"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microsoft.com/office/2018/10/relationships/authors" Targe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 Target="slides/slide7.xml"/></Relationships>
</file>

<file path=ppt/_rels/viewProps.xml.rels><?xml version="1.0" encoding="UTF-8" standalone="yes"?>
<Relationships xmlns="http://schemas.openxmlformats.org/package/2006/relationships"><Relationship Id="rId3" Type="http://schemas.openxmlformats.org/officeDocument/2006/relationships/slide" Target="slides/slide11.xml"/><Relationship Id="rId2" Type="http://schemas.openxmlformats.org/officeDocument/2006/relationships/slide" Target="slides/slide5.xml"/><Relationship Id="rId1" Type="http://schemas.openxmlformats.org/officeDocument/2006/relationships/slide" Target="slides/slide1.xml"/><Relationship Id="rId6" Type="http://schemas.openxmlformats.org/officeDocument/2006/relationships/slide" Target="slides/slide25.xml"/><Relationship Id="rId5" Type="http://schemas.openxmlformats.org/officeDocument/2006/relationships/slide" Target="slides/slide22.xml"/><Relationship Id="rId4" Type="http://schemas.openxmlformats.org/officeDocument/2006/relationships/slide" Target="slides/slide1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Polizeilich erfasst Fälle von Cyberkriminalität im engeren Sinne in Deutschland</c:v>
                </c:pt>
              </c:strCache>
            </c:strRef>
          </c:tx>
          <c:spPr>
            <a:solidFill>
              <a:srgbClr val="489324"/>
            </a:solidFill>
            <a:ln>
              <a:noFill/>
            </a:ln>
            <a:effectLst/>
          </c:spPr>
          <c:invertIfNegative val="0"/>
          <c:cat>
            <c:numRef>
              <c:f>Tabelle1!$A$2:$A$15</c:f>
              <c:numCache>
                <c:formatCode>General</c:formatCode>
                <c:ptCount val="14"/>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numCache>
            </c:numRef>
          </c:cat>
          <c:val>
            <c:numRef>
              <c:f>Tabelle1!$B$2:$B$15</c:f>
              <c:numCache>
                <c:formatCode>General</c:formatCode>
                <c:ptCount val="14"/>
                <c:pt idx="0">
                  <c:v>34180</c:v>
                </c:pt>
                <c:pt idx="1">
                  <c:v>37900</c:v>
                </c:pt>
                <c:pt idx="2">
                  <c:v>50254</c:v>
                </c:pt>
                <c:pt idx="3">
                  <c:v>59839</c:v>
                </c:pt>
                <c:pt idx="4">
                  <c:v>59494</c:v>
                </c:pt>
                <c:pt idx="5">
                  <c:v>63959</c:v>
                </c:pt>
                <c:pt idx="6">
                  <c:v>64426</c:v>
                </c:pt>
                <c:pt idx="7">
                  <c:v>49925</c:v>
                </c:pt>
                <c:pt idx="8">
                  <c:v>45793</c:v>
                </c:pt>
                <c:pt idx="9">
                  <c:v>82649</c:v>
                </c:pt>
                <c:pt idx="10">
                  <c:v>85960</c:v>
                </c:pt>
                <c:pt idx="11">
                  <c:v>87106</c:v>
                </c:pt>
                <c:pt idx="12">
                  <c:v>100514</c:v>
                </c:pt>
                <c:pt idx="13">
                  <c:v>108474</c:v>
                </c:pt>
              </c:numCache>
            </c:numRef>
          </c:val>
          <c:extLst>
            <c:ext xmlns:c16="http://schemas.microsoft.com/office/drawing/2014/chart" uri="{C3380CC4-5D6E-409C-BE32-E72D297353CC}">
              <c16:uniqueId val="{00000000-ABB4-4A72-9E5B-7E1D320D88EB}"/>
            </c:ext>
          </c:extLst>
        </c:ser>
        <c:dLbls>
          <c:showLegendKey val="0"/>
          <c:showVal val="0"/>
          <c:showCatName val="0"/>
          <c:showSerName val="0"/>
          <c:showPercent val="0"/>
          <c:showBubbleSize val="0"/>
        </c:dLbls>
        <c:gapWidth val="219"/>
        <c:overlap val="-27"/>
        <c:axId val="366912640"/>
        <c:axId val="366922624"/>
      </c:barChart>
      <c:catAx>
        <c:axId val="3669126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66922624"/>
        <c:crosses val="autoZero"/>
        <c:auto val="1"/>
        <c:lblAlgn val="ctr"/>
        <c:lblOffset val="100"/>
        <c:noMultiLvlLbl val="0"/>
      </c:catAx>
      <c:valAx>
        <c:axId val="3669226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669126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Schäden durch Cyberkriminalität in Deutschland bis 2019</c:v>
                </c:pt>
              </c:strCache>
            </c:strRef>
          </c:tx>
          <c:spPr>
            <a:solidFill>
              <a:srgbClr val="489324"/>
            </a:solidFill>
            <a:ln>
              <a:noFill/>
            </a:ln>
            <a:effectLst/>
          </c:spPr>
          <c:invertIfNegative val="0"/>
          <c:cat>
            <c:numRef>
              <c:f>Tabelle1!$A$2:$A$15</c:f>
              <c:numCache>
                <c:formatCode>General</c:formatCode>
                <c:ptCount val="14"/>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numCache>
            </c:numRef>
          </c:cat>
          <c:val>
            <c:numRef>
              <c:f>Tabelle1!$B$2:$B$15</c:f>
              <c:numCache>
                <c:formatCode>#,##0</c:formatCode>
                <c:ptCount val="14"/>
                <c:pt idx="0">
                  <c:v>36</c:v>
                </c:pt>
                <c:pt idx="1">
                  <c:v>31</c:v>
                </c:pt>
                <c:pt idx="2">
                  <c:v>37.200000000000003</c:v>
                </c:pt>
                <c:pt idx="3">
                  <c:v>36.9</c:v>
                </c:pt>
                <c:pt idx="4">
                  <c:v>61.5</c:v>
                </c:pt>
                <c:pt idx="5">
                  <c:v>71.2</c:v>
                </c:pt>
                <c:pt idx="6">
                  <c:v>42.5</c:v>
                </c:pt>
                <c:pt idx="7">
                  <c:v>42.6</c:v>
                </c:pt>
                <c:pt idx="8">
                  <c:v>39.4</c:v>
                </c:pt>
                <c:pt idx="9">
                  <c:v>40.5</c:v>
                </c:pt>
                <c:pt idx="10">
                  <c:v>51.6</c:v>
                </c:pt>
                <c:pt idx="11">
                  <c:v>71.8</c:v>
                </c:pt>
                <c:pt idx="12">
                  <c:v>61.4</c:v>
                </c:pt>
                <c:pt idx="13">
                  <c:v>88</c:v>
                </c:pt>
              </c:numCache>
            </c:numRef>
          </c:val>
          <c:extLst>
            <c:ext xmlns:c16="http://schemas.microsoft.com/office/drawing/2014/chart" uri="{C3380CC4-5D6E-409C-BE32-E72D297353CC}">
              <c16:uniqueId val="{00000000-E2F0-4BB9-9884-BDB037577B35}"/>
            </c:ext>
          </c:extLst>
        </c:ser>
        <c:dLbls>
          <c:showLegendKey val="0"/>
          <c:showVal val="0"/>
          <c:showCatName val="0"/>
          <c:showSerName val="0"/>
          <c:showPercent val="0"/>
          <c:showBubbleSize val="0"/>
        </c:dLbls>
        <c:gapWidth val="219"/>
        <c:overlap val="-27"/>
        <c:axId val="249820272"/>
        <c:axId val="249812784"/>
      </c:barChart>
      <c:catAx>
        <c:axId val="2498202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49812784"/>
        <c:crosses val="autoZero"/>
        <c:auto val="1"/>
        <c:lblAlgn val="ctr"/>
        <c:lblOffset val="100"/>
        <c:noMultiLvlLbl val="0"/>
      </c:catAx>
      <c:valAx>
        <c:axId val="24981278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498202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A3E_89B4807F.xml><?xml version="1.0" encoding="utf-8"?>
<p188:cmLst xmlns:a="http://schemas.openxmlformats.org/drawingml/2006/main" xmlns:r="http://schemas.openxmlformats.org/officeDocument/2006/relationships" xmlns:p188="http://schemas.microsoft.com/office/powerpoint/2018/8/main">
  <p188:cm id="{DD452174-1BE2-4458-832D-289471333FEE}" authorId="{50416334-3176-8CA7-2615-79F961CC7779}" created="2022-01-13T21:38:13.122">
    <ac:deMkLst xmlns:ac="http://schemas.microsoft.com/office/drawing/2013/main/command">
      <pc:docMk xmlns:pc="http://schemas.microsoft.com/office/powerpoint/2013/main/command"/>
      <pc:sldMk xmlns:pc="http://schemas.microsoft.com/office/powerpoint/2013/main/command" cId="2310307967" sldId="2622"/>
      <ac:spMk id="13" creationId="{338CE47D-6DF2-422B-966D-334A78570C7A}"/>
    </ac:deMkLst>
    <p188:txBody>
      <a:bodyPr/>
      <a:lstStyle/>
      <a:p>
        <a:r>
          <a:rPr lang="de-DE"/>
          <a:t>Steven Levy im Vergleich
Jargon File ist Hardware Zugang egal</a:t>
        </a:r>
      </a:p>
    </p188:txBody>
  </p188:cm>
  <p188:cm id="{6E6120EB-A3D6-4501-B858-C79650A3EAA9}" authorId="{50416334-3176-8CA7-2615-79F961CC7779}" created="2022-01-13T21:47:57.646">
    <ac:txMkLst xmlns:ac="http://schemas.microsoft.com/office/drawing/2013/main/command">
      <pc:docMk xmlns:pc="http://schemas.microsoft.com/office/powerpoint/2013/main/command"/>
      <pc:sldMk xmlns:pc="http://schemas.microsoft.com/office/powerpoint/2013/main/command" cId="2310307967" sldId="2622"/>
      <ac:spMk id="13" creationId="{338CE47D-6DF2-422B-966D-334A78570C7A}"/>
      <ac:txMk cp="87" len="14">
        <ac:context len="130" hash="1129049543"/>
      </ac:txMk>
    </ac:txMkLst>
    <p188:pos x="2926569" y="2328079"/>
    <p188:txBody>
      <a:bodyPr/>
      <a:lstStyle/>
      <a:p>
        <a:r>
          <a:rPr lang="de-DE"/>
          <a:t>Verbesserung des eigenen Lebens (aber auch der gesamten Gesselschaft, wenn sich jeder gut mit Computern auskennen würde)</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721E948-4D16-4A09-B600-CA36F3077DFE}" type="doc">
      <dgm:prSet loTypeId="urn:microsoft.com/office/officeart/2009/3/layout/CircleRelationship" loCatId="relationship" qsTypeId="urn:microsoft.com/office/officeart/2005/8/quickstyle/simple1" qsCatId="simple" csTypeId="urn:microsoft.com/office/officeart/2005/8/colors/accent1_2" csCatId="accent1" phldr="1"/>
      <dgm:spPr/>
      <dgm:t>
        <a:bodyPr/>
        <a:lstStyle/>
        <a:p>
          <a:endParaRPr lang="de-DE"/>
        </a:p>
      </dgm:t>
    </dgm:pt>
    <dgm:pt modelId="{172409A8-4A77-4A66-98FA-A2DA4D94030F}">
      <dgm:prSet phldrT="[Text]" custT="1"/>
      <dgm:spPr/>
      <dgm:t>
        <a:bodyPr/>
        <a:lstStyle/>
        <a:p>
          <a:r>
            <a:rPr lang="de-DE" sz="4000" dirty="0"/>
            <a:t>Hacker</a:t>
          </a:r>
        </a:p>
      </dgm:t>
    </dgm:pt>
    <dgm:pt modelId="{BF93EF6D-0811-443E-9DF9-F785041AD7EA}" type="parTrans" cxnId="{E2390E93-A177-48D9-900A-CEC86876F3E4}">
      <dgm:prSet/>
      <dgm:spPr/>
      <dgm:t>
        <a:bodyPr/>
        <a:lstStyle/>
        <a:p>
          <a:endParaRPr lang="de-DE"/>
        </a:p>
      </dgm:t>
    </dgm:pt>
    <dgm:pt modelId="{596D69AC-2F9A-49FF-9BA6-EB3C67D08EDE}" type="sibTrans" cxnId="{E2390E93-A177-48D9-900A-CEC86876F3E4}">
      <dgm:prSet/>
      <dgm:spPr/>
      <dgm:t>
        <a:bodyPr/>
        <a:lstStyle/>
        <a:p>
          <a:endParaRPr lang="de-DE"/>
        </a:p>
      </dgm:t>
    </dgm:pt>
    <dgm:pt modelId="{91A2FD22-28BA-48EC-B2EC-74BBB752DB74}">
      <dgm:prSet phldrT="[Text]" custT="1"/>
      <dgm:spPr/>
      <dgm:t>
        <a:bodyPr/>
        <a:lstStyle/>
        <a:p>
          <a:r>
            <a:rPr lang="de-DE" sz="1600" dirty="0"/>
            <a:t>Cracker</a:t>
          </a:r>
          <a:r>
            <a:rPr lang="de-DE" sz="1200" dirty="0"/>
            <a:t> </a:t>
          </a:r>
        </a:p>
        <a:p>
          <a:r>
            <a:rPr lang="de-DE" sz="900" dirty="0"/>
            <a:t>(</a:t>
          </a:r>
          <a:r>
            <a:rPr lang="de-DE" sz="900" dirty="0" err="1"/>
            <a:t>inkl.Demoszene</a:t>
          </a:r>
          <a:r>
            <a:rPr lang="de-DE" sz="900" dirty="0"/>
            <a:t>, </a:t>
          </a:r>
          <a:r>
            <a:rPr lang="de-DE" sz="900" dirty="0" err="1"/>
            <a:t>Sciptkiddies</a:t>
          </a:r>
          <a:r>
            <a:rPr lang="de-DE" sz="900" dirty="0"/>
            <a:t>, </a:t>
          </a:r>
          <a:r>
            <a:rPr lang="de-DE" sz="900" dirty="0" err="1"/>
            <a:t>Warezszene</a:t>
          </a:r>
          <a:r>
            <a:rPr lang="de-DE" sz="900" dirty="0"/>
            <a:t>, …)</a:t>
          </a:r>
        </a:p>
      </dgm:t>
    </dgm:pt>
    <dgm:pt modelId="{28D4C342-8D9A-49E5-81F5-AF7F9FE78CAC}" type="parTrans" cxnId="{01E6F6E2-53F1-49E7-94B8-3081B298B76C}">
      <dgm:prSet/>
      <dgm:spPr/>
      <dgm:t>
        <a:bodyPr/>
        <a:lstStyle/>
        <a:p>
          <a:endParaRPr lang="de-DE"/>
        </a:p>
      </dgm:t>
    </dgm:pt>
    <dgm:pt modelId="{4B87EDD7-D72D-4B92-AF75-83476B29EAF7}" type="sibTrans" cxnId="{01E6F6E2-53F1-49E7-94B8-3081B298B76C}">
      <dgm:prSet/>
      <dgm:spPr/>
      <dgm:t>
        <a:bodyPr/>
        <a:lstStyle/>
        <a:p>
          <a:endParaRPr lang="de-DE"/>
        </a:p>
      </dgm:t>
    </dgm:pt>
    <dgm:pt modelId="{5E379B54-CB0B-4C73-979F-F76FB925FEA5}">
      <dgm:prSet phldrT="[Text]" custT="1"/>
      <dgm:spPr/>
      <dgm:t>
        <a:bodyPr/>
        <a:lstStyle/>
        <a:p>
          <a:r>
            <a:rPr lang="de-DE" sz="1100" b="0" dirty="0" err="1"/>
            <a:t>Phreaker</a:t>
          </a:r>
          <a:r>
            <a:rPr lang="de-DE" sz="1100" b="0" dirty="0"/>
            <a:t>- &amp; </a:t>
          </a:r>
          <a:r>
            <a:rPr lang="de-DE" sz="800" b="0" dirty="0"/>
            <a:t>Heimcomputerszene</a:t>
          </a:r>
          <a:endParaRPr lang="de-DE" sz="1100" b="0" dirty="0"/>
        </a:p>
      </dgm:t>
    </dgm:pt>
    <dgm:pt modelId="{0F321D2F-D24C-482D-97EC-34EC1557E21A}" type="parTrans" cxnId="{FEE96D96-0A5E-4195-BF6E-4073977BEA31}">
      <dgm:prSet/>
      <dgm:spPr/>
      <dgm:t>
        <a:bodyPr/>
        <a:lstStyle/>
        <a:p>
          <a:endParaRPr lang="de-DE"/>
        </a:p>
      </dgm:t>
    </dgm:pt>
    <dgm:pt modelId="{65CF678F-0A78-46C0-8CE8-CE6CAA9EA321}" type="sibTrans" cxnId="{FEE96D96-0A5E-4195-BF6E-4073977BEA31}">
      <dgm:prSet/>
      <dgm:spPr/>
      <dgm:t>
        <a:bodyPr/>
        <a:lstStyle/>
        <a:p>
          <a:endParaRPr lang="de-DE"/>
        </a:p>
      </dgm:t>
    </dgm:pt>
    <dgm:pt modelId="{85592137-81E9-4D9E-85DC-D086A6D2C443}">
      <dgm:prSet phldrT="[Text]"/>
      <dgm:spPr/>
      <dgm:t>
        <a:bodyPr/>
        <a:lstStyle/>
        <a:p>
          <a:r>
            <a:rPr lang="de-DE"/>
            <a:t>Freie-Software-/Open-Source-/Freie-Hardware-Bewegung</a:t>
          </a:r>
          <a:endParaRPr lang="de-DE" dirty="0"/>
        </a:p>
      </dgm:t>
    </dgm:pt>
    <dgm:pt modelId="{CD9656D3-EF6E-4D71-8A70-DB2C18763E89}" type="parTrans" cxnId="{F13B86D0-FA31-47D3-822D-B3D3A5D50A44}">
      <dgm:prSet/>
      <dgm:spPr/>
      <dgm:t>
        <a:bodyPr/>
        <a:lstStyle/>
        <a:p>
          <a:endParaRPr lang="de-DE"/>
        </a:p>
      </dgm:t>
    </dgm:pt>
    <dgm:pt modelId="{244AA25B-C5F3-4153-8929-B1C484845814}" type="sibTrans" cxnId="{F13B86D0-FA31-47D3-822D-B3D3A5D50A44}">
      <dgm:prSet/>
      <dgm:spPr/>
      <dgm:t>
        <a:bodyPr/>
        <a:lstStyle/>
        <a:p>
          <a:endParaRPr lang="de-DE"/>
        </a:p>
      </dgm:t>
    </dgm:pt>
    <dgm:pt modelId="{F548E6E5-D3B1-4BD8-8542-6BFFB5F05335}" type="pres">
      <dgm:prSet presAssocID="{9721E948-4D16-4A09-B600-CA36F3077DFE}" presName="Name0" presStyleCnt="0">
        <dgm:presLayoutVars>
          <dgm:chMax val="1"/>
          <dgm:chPref val="1"/>
        </dgm:presLayoutVars>
      </dgm:prSet>
      <dgm:spPr/>
    </dgm:pt>
    <dgm:pt modelId="{E4A7F5C0-17C2-436A-AABA-36007F39D3A0}" type="pres">
      <dgm:prSet presAssocID="{172409A8-4A77-4A66-98FA-A2DA4D94030F}" presName="Parent" presStyleLbl="node0" presStyleIdx="0" presStyleCnt="1" custLinFactNeighborX="13256" custLinFactNeighborY="-4782">
        <dgm:presLayoutVars>
          <dgm:chMax val="5"/>
          <dgm:chPref val="5"/>
        </dgm:presLayoutVars>
      </dgm:prSet>
      <dgm:spPr/>
    </dgm:pt>
    <dgm:pt modelId="{F6A33987-78D7-4807-802F-8C190A5BCD03}" type="pres">
      <dgm:prSet presAssocID="{172409A8-4A77-4A66-98FA-A2DA4D94030F}" presName="Accent1" presStyleLbl="node1" presStyleIdx="0" presStyleCnt="15" custLinFactNeighborY="-15330"/>
      <dgm:spPr>
        <a:noFill/>
        <a:ln>
          <a:noFill/>
        </a:ln>
      </dgm:spPr>
    </dgm:pt>
    <dgm:pt modelId="{3B96B203-5A48-4346-A920-1995B7FA5DAB}" type="pres">
      <dgm:prSet presAssocID="{172409A8-4A77-4A66-98FA-A2DA4D94030F}" presName="Accent2" presStyleLbl="node1" presStyleIdx="1" presStyleCnt="15" custLinFactNeighborY="-21151"/>
      <dgm:spPr>
        <a:noFill/>
        <a:ln>
          <a:noFill/>
        </a:ln>
      </dgm:spPr>
    </dgm:pt>
    <dgm:pt modelId="{C44ABDBD-CEB1-418E-89C3-28F8DE030E7F}" type="pres">
      <dgm:prSet presAssocID="{172409A8-4A77-4A66-98FA-A2DA4D94030F}" presName="Accent3" presStyleLbl="node1" presStyleIdx="2" presStyleCnt="15" custLinFactNeighborY="-21151"/>
      <dgm:spPr>
        <a:noFill/>
        <a:ln>
          <a:noFill/>
        </a:ln>
      </dgm:spPr>
    </dgm:pt>
    <dgm:pt modelId="{651336BD-87C9-4527-A391-439A8A4E1DB5}" type="pres">
      <dgm:prSet presAssocID="{172409A8-4A77-4A66-98FA-A2DA4D94030F}" presName="Accent4" presStyleLbl="node1" presStyleIdx="3" presStyleCnt="15" custLinFactNeighborY="-15330"/>
      <dgm:spPr>
        <a:noFill/>
        <a:ln>
          <a:noFill/>
        </a:ln>
      </dgm:spPr>
    </dgm:pt>
    <dgm:pt modelId="{C31AF1EE-8F0B-4FB4-8F61-705ED896952A}" type="pres">
      <dgm:prSet presAssocID="{172409A8-4A77-4A66-98FA-A2DA4D94030F}" presName="Accent5" presStyleLbl="node1" presStyleIdx="4" presStyleCnt="15" custLinFactNeighborY="-21151"/>
      <dgm:spPr>
        <a:noFill/>
        <a:ln>
          <a:noFill/>
        </a:ln>
      </dgm:spPr>
    </dgm:pt>
    <dgm:pt modelId="{C7170304-E0D4-4E7D-B59E-90FBF7235FBC}" type="pres">
      <dgm:prSet presAssocID="{172409A8-4A77-4A66-98FA-A2DA4D94030F}" presName="Accent6" presStyleLbl="node1" presStyleIdx="5" presStyleCnt="15" custLinFactNeighborY="-21151"/>
      <dgm:spPr>
        <a:noFill/>
        <a:ln>
          <a:noFill/>
        </a:ln>
      </dgm:spPr>
    </dgm:pt>
    <dgm:pt modelId="{E3188363-ACCE-42F9-95A9-12B262DBBDED}" type="pres">
      <dgm:prSet presAssocID="{91A2FD22-28BA-48EC-B2EC-74BBB752DB74}" presName="Child1" presStyleLbl="node1" presStyleIdx="6" presStyleCnt="15" custScaleX="127077" custScaleY="127106" custLinFactNeighborX="24731" custLinFactNeighborY="35057">
        <dgm:presLayoutVars>
          <dgm:chMax val="0"/>
          <dgm:chPref val="0"/>
        </dgm:presLayoutVars>
      </dgm:prSet>
      <dgm:spPr/>
    </dgm:pt>
    <dgm:pt modelId="{3E72FE3C-D564-4C01-A54A-3F0A47A7CC4D}" type="pres">
      <dgm:prSet presAssocID="{91A2FD22-28BA-48EC-B2EC-74BBB752DB74}" presName="Accent7" presStyleCnt="0"/>
      <dgm:spPr/>
    </dgm:pt>
    <dgm:pt modelId="{0A12EC96-8398-4289-B2E0-D0F2AB4C57E7}" type="pres">
      <dgm:prSet presAssocID="{91A2FD22-28BA-48EC-B2EC-74BBB752DB74}" presName="AccentHold1" presStyleLbl="node1" presStyleIdx="7" presStyleCnt="15" custLinFactNeighborY="-15330"/>
      <dgm:spPr>
        <a:noFill/>
        <a:ln>
          <a:noFill/>
        </a:ln>
      </dgm:spPr>
    </dgm:pt>
    <dgm:pt modelId="{5963C269-479E-49E4-B903-0C0DDDB5158F}" type="pres">
      <dgm:prSet presAssocID="{91A2FD22-28BA-48EC-B2EC-74BBB752DB74}" presName="Accent8" presStyleCnt="0"/>
      <dgm:spPr/>
    </dgm:pt>
    <dgm:pt modelId="{AD8C9316-628A-4C4E-8574-2CC4B11839BC}" type="pres">
      <dgm:prSet presAssocID="{91A2FD22-28BA-48EC-B2EC-74BBB752DB74}" presName="AccentHold2" presStyleLbl="node1" presStyleIdx="8" presStyleCnt="15" custLinFactNeighborY="-8480"/>
      <dgm:spPr>
        <a:noFill/>
        <a:ln>
          <a:noFill/>
        </a:ln>
      </dgm:spPr>
    </dgm:pt>
    <dgm:pt modelId="{1480EAA4-5793-4BB3-A7B8-43240A6A3745}" type="pres">
      <dgm:prSet presAssocID="{5E379B54-CB0B-4C73-979F-F76FB925FEA5}" presName="Child2" presStyleLbl="node1" presStyleIdx="9" presStyleCnt="15" custScaleX="127077" custScaleY="127106" custLinFactX="-100000" custLinFactNeighborX="-193433" custLinFactNeighborY="-21161">
        <dgm:presLayoutVars>
          <dgm:chMax val="0"/>
          <dgm:chPref val="0"/>
        </dgm:presLayoutVars>
      </dgm:prSet>
      <dgm:spPr/>
    </dgm:pt>
    <dgm:pt modelId="{A116538A-D521-4ED0-BC02-A9BF2E0F983B}" type="pres">
      <dgm:prSet presAssocID="{5E379B54-CB0B-4C73-979F-F76FB925FEA5}" presName="Accent9" presStyleCnt="0"/>
      <dgm:spPr/>
    </dgm:pt>
    <dgm:pt modelId="{CA9563DA-F63E-4B27-AA60-0E32C2ADF5A8}" type="pres">
      <dgm:prSet presAssocID="{5E379B54-CB0B-4C73-979F-F76FB925FEA5}" presName="AccentHold1" presStyleLbl="node1" presStyleIdx="10" presStyleCnt="15"/>
      <dgm:spPr>
        <a:noFill/>
        <a:ln>
          <a:noFill/>
        </a:ln>
      </dgm:spPr>
    </dgm:pt>
    <dgm:pt modelId="{CE143999-531E-4362-9A23-04F38F865A90}" type="pres">
      <dgm:prSet presAssocID="{5E379B54-CB0B-4C73-979F-F76FB925FEA5}" presName="Accent10" presStyleCnt="0"/>
      <dgm:spPr/>
    </dgm:pt>
    <dgm:pt modelId="{1D635A8D-60FF-46EA-BE2E-F02822F31C3D}" type="pres">
      <dgm:prSet presAssocID="{5E379B54-CB0B-4C73-979F-F76FB925FEA5}" presName="AccentHold2" presStyleLbl="node1" presStyleIdx="11" presStyleCnt="15"/>
      <dgm:spPr>
        <a:noFill/>
        <a:ln>
          <a:noFill/>
        </a:ln>
      </dgm:spPr>
    </dgm:pt>
    <dgm:pt modelId="{AF2885FA-5585-4858-BBC5-EA87463DDB53}" type="pres">
      <dgm:prSet presAssocID="{5E379B54-CB0B-4C73-979F-F76FB925FEA5}" presName="Accent11" presStyleCnt="0"/>
      <dgm:spPr/>
    </dgm:pt>
    <dgm:pt modelId="{E9DCF4C5-3B0C-4112-AE3C-5CF791EE6DE5}" type="pres">
      <dgm:prSet presAssocID="{5E379B54-CB0B-4C73-979F-F76FB925FEA5}" presName="AccentHold3" presStyleLbl="node1" presStyleIdx="12" presStyleCnt="15" custLinFactNeighborY="-21151"/>
      <dgm:spPr>
        <a:noFill/>
        <a:ln>
          <a:noFill/>
        </a:ln>
      </dgm:spPr>
    </dgm:pt>
    <dgm:pt modelId="{6576E75B-F9BB-4247-95C1-1EF4AB4B729B}" type="pres">
      <dgm:prSet presAssocID="{85592137-81E9-4D9E-85DC-D086A6D2C443}" presName="Child3" presStyleLbl="node1" presStyleIdx="13" presStyleCnt="15" custScaleX="127077" custScaleY="127106" custLinFactX="-14928" custLinFactNeighborX="-100000" custLinFactNeighborY="-9783">
        <dgm:presLayoutVars>
          <dgm:chMax val="0"/>
          <dgm:chPref val="0"/>
        </dgm:presLayoutVars>
      </dgm:prSet>
      <dgm:spPr/>
    </dgm:pt>
    <dgm:pt modelId="{926A9C68-62C3-444F-A278-12954269B529}" type="pres">
      <dgm:prSet presAssocID="{85592137-81E9-4D9E-85DC-D086A6D2C443}" presName="Accent12" presStyleCnt="0"/>
      <dgm:spPr/>
    </dgm:pt>
    <dgm:pt modelId="{9EA55D2C-9B12-4F6E-B08C-0C2973424283}" type="pres">
      <dgm:prSet presAssocID="{85592137-81E9-4D9E-85DC-D086A6D2C443}" presName="AccentHold1" presStyleLbl="node1" presStyleIdx="14" presStyleCnt="15" custLinFactNeighborY="-21151"/>
      <dgm:spPr>
        <a:noFill/>
        <a:ln>
          <a:noFill/>
        </a:ln>
      </dgm:spPr>
    </dgm:pt>
  </dgm:ptLst>
  <dgm:cxnLst>
    <dgm:cxn modelId="{7B638530-B193-49CA-BC0B-DC59041F85BA}" type="presOf" srcId="{172409A8-4A77-4A66-98FA-A2DA4D94030F}" destId="{E4A7F5C0-17C2-436A-AABA-36007F39D3A0}" srcOrd="0" destOrd="0" presId="urn:microsoft.com/office/officeart/2009/3/layout/CircleRelationship"/>
    <dgm:cxn modelId="{4297BF48-AA60-48F8-8FC7-3B534BA50DD7}" type="presOf" srcId="{5E379B54-CB0B-4C73-979F-F76FB925FEA5}" destId="{1480EAA4-5793-4BB3-A7B8-43240A6A3745}" srcOrd="0" destOrd="0" presId="urn:microsoft.com/office/officeart/2009/3/layout/CircleRelationship"/>
    <dgm:cxn modelId="{1DE70183-E184-4D90-98EC-67F22EBCFEEB}" type="presOf" srcId="{91A2FD22-28BA-48EC-B2EC-74BBB752DB74}" destId="{E3188363-ACCE-42F9-95A9-12B262DBBDED}" srcOrd="0" destOrd="0" presId="urn:microsoft.com/office/officeart/2009/3/layout/CircleRelationship"/>
    <dgm:cxn modelId="{2E438F8C-70F2-4E4A-8C9E-6FF5D160C6FA}" type="presOf" srcId="{9721E948-4D16-4A09-B600-CA36F3077DFE}" destId="{F548E6E5-D3B1-4BD8-8542-6BFFB5F05335}" srcOrd="0" destOrd="0" presId="urn:microsoft.com/office/officeart/2009/3/layout/CircleRelationship"/>
    <dgm:cxn modelId="{E2390E93-A177-48D9-900A-CEC86876F3E4}" srcId="{9721E948-4D16-4A09-B600-CA36F3077DFE}" destId="{172409A8-4A77-4A66-98FA-A2DA4D94030F}" srcOrd="0" destOrd="0" parTransId="{BF93EF6D-0811-443E-9DF9-F785041AD7EA}" sibTransId="{596D69AC-2F9A-49FF-9BA6-EB3C67D08EDE}"/>
    <dgm:cxn modelId="{FEE96D96-0A5E-4195-BF6E-4073977BEA31}" srcId="{172409A8-4A77-4A66-98FA-A2DA4D94030F}" destId="{5E379B54-CB0B-4C73-979F-F76FB925FEA5}" srcOrd="1" destOrd="0" parTransId="{0F321D2F-D24C-482D-97EC-34EC1557E21A}" sibTransId="{65CF678F-0A78-46C0-8CE8-CE6CAA9EA321}"/>
    <dgm:cxn modelId="{2139D79B-ED01-4698-8F13-BF6ED8472F80}" type="presOf" srcId="{85592137-81E9-4D9E-85DC-D086A6D2C443}" destId="{6576E75B-F9BB-4247-95C1-1EF4AB4B729B}" srcOrd="0" destOrd="0" presId="urn:microsoft.com/office/officeart/2009/3/layout/CircleRelationship"/>
    <dgm:cxn modelId="{F13B86D0-FA31-47D3-822D-B3D3A5D50A44}" srcId="{172409A8-4A77-4A66-98FA-A2DA4D94030F}" destId="{85592137-81E9-4D9E-85DC-D086A6D2C443}" srcOrd="2" destOrd="0" parTransId="{CD9656D3-EF6E-4D71-8A70-DB2C18763E89}" sibTransId="{244AA25B-C5F3-4153-8929-B1C484845814}"/>
    <dgm:cxn modelId="{01E6F6E2-53F1-49E7-94B8-3081B298B76C}" srcId="{172409A8-4A77-4A66-98FA-A2DA4D94030F}" destId="{91A2FD22-28BA-48EC-B2EC-74BBB752DB74}" srcOrd="0" destOrd="0" parTransId="{28D4C342-8D9A-49E5-81F5-AF7F9FE78CAC}" sibTransId="{4B87EDD7-D72D-4B92-AF75-83476B29EAF7}"/>
    <dgm:cxn modelId="{07E716DE-EBA0-48C5-9FA0-D2634C4566E6}" type="presParOf" srcId="{F548E6E5-D3B1-4BD8-8542-6BFFB5F05335}" destId="{E4A7F5C0-17C2-436A-AABA-36007F39D3A0}" srcOrd="0" destOrd="0" presId="urn:microsoft.com/office/officeart/2009/3/layout/CircleRelationship"/>
    <dgm:cxn modelId="{EC3C56D3-AFC1-4D84-ADA4-BD590E9348DF}" type="presParOf" srcId="{F548E6E5-D3B1-4BD8-8542-6BFFB5F05335}" destId="{F6A33987-78D7-4807-802F-8C190A5BCD03}" srcOrd="1" destOrd="0" presId="urn:microsoft.com/office/officeart/2009/3/layout/CircleRelationship"/>
    <dgm:cxn modelId="{C684C275-BA8A-4A5C-B40E-1955207DAC48}" type="presParOf" srcId="{F548E6E5-D3B1-4BD8-8542-6BFFB5F05335}" destId="{3B96B203-5A48-4346-A920-1995B7FA5DAB}" srcOrd="2" destOrd="0" presId="urn:microsoft.com/office/officeart/2009/3/layout/CircleRelationship"/>
    <dgm:cxn modelId="{C64D84F1-C2E2-4BE2-9993-99456B6FB468}" type="presParOf" srcId="{F548E6E5-D3B1-4BD8-8542-6BFFB5F05335}" destId="{C44ABDBD-CEB1-418E-89C3-28F8DE030E7F}" srcOrd="3" destOrd="0" presId="urn:microsoft.com/office/officeart/2009/3/layout/CircleRelationship"/>
    <dgm:cxn modelId="{7A8CE94E-A3F5-41A3-9843-E62952B23F1F}" type="presParOf" srcId="{F548E6E5-D3B1-4BD8-8542-6BFFB5F05335}" destId="{651336BD-87C9-4527-A391-439A8A4E1DB5}" srcOrd="4" destOrd="0" presId="urn:microsoft.com/office/officeart/2009/3/layout/CircleRelationship"/>
    <dgm:cxn modelId="{447A20C2-9432-4F81-9087-16D72CB583F1}" type="presParOf" srcId="{F548E6E5-D3B1-4BD8-8542-6BFFB5F05335}" destId="{C31AF1EE-8F0B-4FB4-8F61-705ED896952A}" srcOrd="5" destOrd="0" presId="urn:microsoft.com/office/officeart/2009/3/layout/CircleRelationship"/>
    <dgm:cxn modelId="{8B79DD10-AA30-4039-9D24-729996266AA2}" type="presParOf" srcId="{F548E6E5-D3B1-4BD8-8542-6BFFB5F05335}" destId="{C7170304-E0D4-4E7D-B59E-90FBF7235FBC}" srcOrd="6" destOrd="0" presId="urn:microsoft.com/office/officeart/2009/3/layout/CircleRelationship"/>
    <dgm:cxn modelId="{796AB4AB-3522-4AC1-A91E-4AAD7F051F0B}" type="presParOf" srcId="{F548E6E5-D3B1-4BD8-8542-6BFFB5F05335}" destId="{E3188363-ACCE-42F9-95A9-12B262DBBDED}" srcOrd="7" destOrd="0" presId="urn:microsoft.com/office/officeart/2009/3/layout/CircleRelationship"/>
    <dgm:cxn modelId="{DF28BC76-7AB3-4EA3-BE6E-9FCA49DDF026}" type="presParOf" srcId="{F548E6E5-D3B1-4BD8-8542-6BFFB5F05335}" destId="{3E72FE3C-D564-4C01-A54A-3F0A47A7CC4D}" srcOrd="8" destOrd="0" presId="urn:microsoft.com/office/officeart/2009/3/layout/CircleRelationship"/>
    <dgm:cxn modelId="{3F9DD89B-9FB3-460C-8DCB-9C5D87842DD0}" type="presParOf" srcId="{3E72FE3C-D564-4C01-A54A-3F0A47A7CC4D}" destId="{0A12EC96-8398-4289-B2E0-D0F2AB4C57E7}" srcOrd="0" destOrd="0" presId="urn:microsoft.com/office/officeart/2009/3/layout/CircleRelationship"/>
    <dgm:cxn modelId="{F9ACDD06-B5A4-47D3-8FD6-76575760688A}" type="presParOf" srcId="{F548E6E5-D3B1-4BD8-8542-6BFFB5F05335}" destId="{5963C269-479E-49E4-B903-0C0DDDB5158F}" srcOrd="9" destOrd="0" presId="urn:microsoft.com/office/officeart/2009/3/layout/CircleRelationship"/>
    <dgm:cxn modelId="{6A495A5B-F5F8-4E93-9F40-2C06665E59A1}" type="presParOf" srcId="{5963C269-479E-49E4-B903-0C0DDDB5158F}" destId="{AD8C9316-628A-4C4E-8574-2CC4B11839BC}" srcOrd="0" destOrd="0" presId="urn:microsoft.com/office/officeart/2009/3/layout/CircleRelationship"/>
    <dgm:cxn modelId="{3BCD1B43-A8D3-4C95-B2D5-C493030881B1}" type="presParOf" srcId="{F548E6E5-D3B1-4BD8-8542-6BFFB5F05335}" destId="{1480EAA4-5793-4BB3-A7B8-43240A6A3745}" srcOrd="10" destOrd="0" presId="urn:microsoft.com/office/officeart/2009/3/layout/CircleRelationship"/>
    <dgm:cxn modelId="{0865201D-D4C9-4300-9066-46FF66CE4E15}" type="presParOf" srcId="{F548E6E5-D3B1-4BD8-8542-6BFFB5F05335}" destId="{A116538A-D521-4ED0-BC02-A9BF2E0F983B}" srcOrd="11" destOrd="0" presId="urn:microsoft.com/office/officeart/2009/3/layout/CircleRelationship"/>
    <dgm:cxn modelId="{EAE0037E-E8D4-40F6-B60E-B42A984507E4}" type="presParOf" srcId="{A116538A-D521-4ED0-BC02-A9BF2E0F983B}" destId="{CA9563DA-F63E-4B27-AA60-0E32C2ADF5A8}" srcOrd="0" destOrd="0" presId="urn:microsoft.com/office/officeart/2009/3/layout/CircleRelationship"/>
    <dgm:cxn modelId="{92EE72AE-6AE1-4A3D-94CC-D3DC45286112}" type="presParOf" srcId="{F548E6E5-D3B1-4BD8-8542-6BFFB5F05335}" destId="{CE143999-531E-4362-9A23-04F38F865A90}" srcOrd="12" destOrd="0" presId="urn:microsoft.com/office/officeart/2009/3/layout/CircleRelationship"/>
    <dgm:cxn modelId="{8B059541-FF67-43FB-965A-2552AA18551D}" type="presParOf" srcId="{CE143999-531E-4362-9A23-04F38F865A90}" destId="{1D635A8D-60FF-46EA-BE2E-F02822F31C3D}" srcOrd="0" destOrd="0" presId="urn:microsoft.com/office/officeart/2009/3/layout/CircleRelationship"/>
    <dgm:cxn modelId="{7C798521-16BC-4905-A15F-AAF39A6FACA0}" type="presParOf" srcId="{F548E6E5-D3B1-4BD8-8542-6BFFB5F05335}" destId="{AF2885FA-5585-4858-BBC5-EA87463DDB53}" srcOrd="13" destOrd="0" presId="urn:microsoft.com/office/officeart/2009/3/layout/CircleRelationship"/>
    <dgm:cxn modelId="{57FD3215-15B8-4034-8838-EDED6AB3528A}" type="presParOf" srcId="{AF2885FA-5585-4858-BBC5-EA87463DDB53}" destId="{E9DCF4C5-3B0C-4112-AE3C-5CF791EE6DE5}" srcOrd="0" destOrd="0" presId="urn:microsoft.com/office/officeart/2009/3/layout/CircleRelationship"/>
    <dgm:cxn modelId="{482C7F64-E417-418B-9C01-07EC9649FCC9}" type="presParOf" srcId="{F548E6E5-D3B1-4BD8-8542-6BFFB5F05335}" destId="{6576E75B-F9BB-4247-95C1-1EF4AB4B729B}" srcOrd="14" destOrd="0" presId="urn:microsoft.com/office/officeart/2009/3/layout/CircleRelationship"/>
    <dgm:cxn modelId="{9167E74D-B644-45C2-B513-DAB92A92B5AB}" type="presParOf" srcId="{F548E6E5-D3B1-4BD8-8542-6BFFB5F05335}" destId="{926A9C68-62C3-444F-A278-12954269B529}" srcOrd="15" destOrd="0" presId="urn:microsoft.com/office/officeart/2009/3/layout/CircleRelationship"/>
    <dgm:cxn modelId="{39A0C837-1D52-4D41-BBC8-733A13F37C04}" type="presParOf" srcId="{926A9C68-62C3-444F-A278-12954269B529}" destId="{9EA55D2C-9B12-4F6E-B08C-0C2973424283}" srcOrd="0" destOrd="0" presId="urn:microsoft.com/office/officeart/2009/3/layout/CircleRelationship"/>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A7F5C0-17C2-436A-AABA-36007F39D3A0}">
      <dsp:nvSpPr>
        <dsp:cNvPr id="0" name=""/>
        <dsp:cNvSpPr/>
      </dsp:nvSpPr>
      <dsp:spPr>
        <a:xfrm>
          <a:off x="1293958" y="819567"/>
          <a:ext cx="2787188" cy="2787501"/>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marL="0" lvl="0" indent="0" algn="ctr" defTabSz="1778000">
            <a:lnSpc>
              <a:spcPct val="90000"/>
            </a:lnSpc>
            <a:spcBef>
              <a:spcPct val="0"/>
            </a:spcBef>
            <a:spcAft>
              <a:spcPct val="35000"/>
            </a:spcAft>
            <a:buNone/>
          </a:pPr>
          <a:r>
            <a:rPr lang="de-DE" sz="4000" kern="1200" dirty="0"/>
            <a:t>Hacker</a:t>
          </a:r>
        </a:p>
      </dsp:txBody>
      <dsp:txXfrm>
        <a:off x="1702132" y="1227787"/>
        <a:ext cx="1970840" cy="1971061"/>
      </dsp:txXfrm>
    </dsp:sp>
    <dsp:sp modelId="{F6A33987-78D7-4807-802F-8C190A5BCD03}">
      <dsp:nvSpPr>
        <dsp:cNvPr id="0" name=""/>
        <dsp:cNvSpPr/>
      </dsp:nvSpPr>
      <dsp:spPr>
        <a:xfrm>
          <a:off x="2515044" y="778340"/>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B96B203-5A48-4346-A920-1995B7FA5DAB}">
      <dsp:nvSpPr>
        <dsp:cNvPr id="0" name=""/>
        <dsp:cNvSpPr/>
      </dsp:nvSpPr>
      <dsp:spPr>
        <a:xfrm>
          <a:off x="1781513" y="3485733"/>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44ABDBD-CEB1-418E-89C3-28F8DE030E7F}">
      <dsp:nvSpPr>
        <dsp:cNvPr id="0" name=""/>
        <dsp:cNvSpPr/>
      </dsp:nvSpPr>
      <dsp:spPr>
        <a:xfrm>
          <a:off x="3891200" y="2036623"/>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51336BD-87C9-4527-A391-439A8A4E1DB5}">
      <dsp:nvSpPr>
        <dsp:cNvPr id="0" name=""/>
        <dsp:cNvSpPr/>
      </dsp:nvSpPr>
      <dsp:spPr>
        <a:xfrm>
          <a:off x="2817489" y="3724755"/>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31AF1EE-8F0B-4FB4-8F61-705ED896952A}">
      <dsp:nvSpPr>
        <dsp:cNvPr id="0" name=""/>
        <dsp:cNvSpPr/>
      </dsp:nvSpPr>
      <dsp:spPr>
        <a:xfrm>
          <a:off x="1844403" y="1218935"/>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7170304-E0D4-4E7D-B59E-90FBF7235FBC}">
      <dsp:nvSpPr>
        <dsp:cNvPr id="0" name=""/>
        <dsp:cNvSpPr/>
      </dsp:nvSpPr>
      <dsp:spPr>
        <a:xfrm>
          <a:off x="1137172" y="2504246"/>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3188363-ACCE-42F9-95A9-12B262DBBDED}">
      <dsp:nvSpPr>
        <dsp:cNvPr id="0" name=""/>
        <dsp:cNvSpPr/>
      </dsp:nvSpPr>
      <dsp:spPr>
        <a:xfrm>
          <a:off x="180001" y="1699605"/>
          <a:ext cx="1439999" cy="143999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e-DE" sz="1600" kern="1200" dirty="0"/>
            <a:t>Cracker</a:t>
          </a:r>
          <a:r>
            <a:rPr lang="de-DE" sz="1200" kern="1200" dirty="0"/>
            <a:t> </a:t>
          </a:r>
        </a:p>
        <a:p>
          <a:pPr marL="0" lvl="0" indent="0" algn="ctr" defTabSz="711200">
            <a:lnSpc>
              <a:spcPct val="90000"/>
            </a:lnSpc>
            <a:spcBef>
              <a:spcPct val="0"/>
            </a:spcBef>
            <a:spcAft>
              <a:spcPct val="35000"/>
            </a:spcAft>
            <a:buNone/>
          </a:pPr>
          <a:r>
            <a:rPr lang="de-DE" sz="900" kern="1200" dirty="0"/>
            <a:t>(</a:t>
          </a:r>
          <a:r>
            <a:rPr lang="de-DE" sz="900" kern="1200" dirty="0" err="1"/>
            <a:t>inkl.Demoszene</a:t>
          </a:r>
          <a:r>
            <a:rPr lang="de-DE" sz="900" kern="1200" dirty="0"/>
            <a:t>, </a:t>
          </a:r>
          <a:r>
            <a:rPr lang="de-DE" sz="900" kern="1200" dirty="0" err="1"/>
            <a:t>Sciptkiddies</a:t>
          </a:r>
          <a:r>
            <a:rPr lang="de-DE" sz="900" kern="1200" dirty="0"/>
            <a:t>, </a:t>
          </a:r>
          <a:r>
            <a:rPr lang="de-DE" sz="900" kern="1200" dirty="0" err="1"/>
            <a:t>Warezszene</a:t>
          </a:r>
          <a:r>
            <a:rPr lang="de-DE" sz="900" kern="1200" dirty="0"/>
            <a:t>, …)</a:t>
          </a:r>
        </a:p>
      </dsp:txBody>
      <dsp:txXfrm>
        <a:off x="390884" y="1910488"/>
        <a:ext cx="1018233" cy="1018231"/>
      </dsp:txXfrm>
    </dsp:sp>
    <dsp:sp modelId="{0A12EC96-8398-4289-B2E0-D0F2AB4C57E7}">
      <dsp:nvSpPr>
        <dsp:cNvPr id="0" name=""/>
        <dsp:cNvSpPr/>
      </dsp:nvSpPr>
      <dsp:spPr>
        <a:xfrm>
          <a:off x="2201735" y="1228704"/>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D8C9316-628A-4C4E-8574-2CC4B11839BC}">
      <dsp:nvSpPr>
        <dsp:cNvPr id="0" name=""/>
        <dsp:cNvSpPr/>
      </dsp:nvSpPr>
      <dsp:spPr>
        <a:xfrm>
          <a:off x="160084" y="2873525"/>
          <a:ext cx="560296" cy="56043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480EAA4-5793-4BB3-A7B8-43240A6A3745}">
      <dsp:nvSpPr>
        <dsp:cNvPr id="0" name=""/>
        <dsp:cNvSpPr/>
      </dsp:nvSpPr>
      <dsp:spPr>
        <a:xfrm>
          <a:off x="519603" y="529628"/>
          <a:ext cx="1439999" cy="143999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de-DE" sz="1100" b="0" kern="1200" dirty="0" err="1"/>
            <a:t>Phreaker</a:t>
          </a:r>
          <a:r>
            <a:rPr lang="de-DE" sz="1100" b="0" kern="1200" dirty="0"/>
            <a:t>- &amp; </a:t>
          </a:r>
          <a:r>
            <a:rPr lang="de-DE" sz="800" b="0" kern="1200" dirty="0"/>
            <a:t>Heimcomputerszene</a:t>
          </a:r>
          <a:endParaRPr lang="de-DE" sz="1100" b="0" kern="1200" dirty="0"/>
        </a:p>
      </dsp:txBody>
      <dsp:txXfrm>
        <a:off x="730486" y="740511"/>
        <a:ext cx="1018233" cy="1018231"/>
      </dsp:txXfrm>
    </dsp:sp>
    <dsp:sp modelId="{CA9563DA-F63E-4B27-AA60-0E32C2ADF5A8}">
      <dsp:nvSpPr>
        <dsp:cNvPr id="0" name=""/>
        <dsp:cNvSpPr/>
      </dsp:nvSpPr>
      <dsp:spPr>
        <a:xfrm>
          <a:off x="3492132" y="1705100"/>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D635A8D-60FF-46EA-BE2E-F02822F31C3D}">
      <dsp:nvSpPr>
        <dsp:cNvPr id="0" name=""/>
        <dsp:cNvSpPr/>
      </dsp:nvSpPr>
      <dsp:spPr>
        <a:xfrm>
          <a:off x="-53170" y="3587966"/>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9DCF4C5-3B0C-4112-AE3C-5CF791EE6DE5}">
      <dsp:nvSpPr>
        <dsp:cNvPr id="0" name=""/>
        <dsp:cNvSpPr/>
      </dsp:nvSpPr>
      <dsp:spPr>
        <a:xfrm>
          <a:off x="2185727" y="3220660"/>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576E75B-F9BB-4247-95C1-1EF4AB4B729B}">
      <dsp:nvSpPr>
        <dsp:cNvPr id="0" name=""/>
        <dsp:cNvSpPr/>
      </dsp:nvSpPr>
      <dsp:spPr>
        <a:xfrm>
          <a:off x="3075222" y="2616946"/>
          <a:ext cx="1439999" cy="143999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de-DE" sz="1000" kern="1200"/>
            <a:t>Freie-Software-/Open-Source-/Freie-Hardware-Bewegung</a:t>
          </a:r>
          <a:endParaRPr lang="de-DE" sz="1000" kern="1200" dirty="0"/>
        </a:p>
      </dsp:txBody>
      <dsp:txXfrm>
        <a:off x="3286105" y="2827829"/>
        <a:ext cx="1018233" cy="1018231"/>
      </dsp:txXfrm>
    </dsp:sp>
    <dsp:sp modelId="{9EA55D2C-9B12-4F6E-B08C-0C2973424283}">
      <dsp:nvSpPr>
        <dsp:cNvPr id="0" name=""/>
        <dsp:cNvSpPr/>
      </dsp:nvSpPr>
      <dsp:spPr>
        <a:xfrm>
          <a:off x="4211369" y="2794068"/>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9/3/layout/CircleRelationship">
  <dgm:title val=""/>
  <dgm:desc val=""/>
  <dgm:catLst>
    <dgm:cat type="relationship" pri="1500"/>
  </dgm:catLst>
  <dgm:samp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ampData>
  <dgm:style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tyleData>
  <dgm:clr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clrData>
  <dgm:layoutNode name="Name0">
    <dgm:varLst>
      <dgm:chMax val="1"/>
      <dgm:chPref val="1"/>
    </dgm:varLst>
    <dgm:shape xmlns:r="http://schemas.openxmlformats.org/officeDocument/2006/relationships" r:blip="">
      <dgm:adjLst/>
    </dgm:shape>
    <dgm:choose name="Name1">
      <dgm:if name="Name2" axis="ch ch" ptType="node node" func="cnt" op="equ" val="0">
        <dgm:alg type="composite">
          <dgm:param type="ar" val="0.98"/>
        </dgm:alg>
        <dgm:constrLst>
          <dgm:constr type="primFontSz" for="des" ptType="node" op="equ" val="65"/>
          <dgm:constr type="l" for="ch" forName="Parent" refType="w" fact="0"/>
          <dgm:constr type="t" for="ch" forName="Parent" refType="h" fact="0.039"/>
          <dgm:constr type="w" for="ch" forName="Parent" refType="w" fact="0.8734"/>
          <dgm:constr type="h" for="ch" forName="Parent" refType="h" fact="0.856"/>
          <dgm:constr type="l" for="ch" forName="Accent1" refType="w" fact="0.4984"/>
          <dgm:constr type="t" for="ch" forName="Accent1" refType="h" fact="0"/>
          <dgm:constr type="w" for="ch" forName="Accent1" refType="w" fact="0.0972"/>
          <dgm:constr type="h" for="ch" forName="Accent1" refType="h" fact="0.0952"/>
          <dgm:constr type="l" for="ch" forName="Accent2" refType="w" fact="0.2684"/>
          <dgm:constr type="t" for="ch" forName="Accent2" refType="h" fact="0.8314"/>
          <dgm:constr type="w" for="ch" forName="Accent2" refType="w" fact="0.0704"/>
          <dgm:constr type="h" for="ch" forName="Accent2" refType="h" fact="0.069"/>
          <dgm:constr type="l" for="ch" forName="Accent3" refType="w" fact="0.9296"/>
          <dgm:constr type="t" for="ch" forName="Accent3" refType="h" fact="0.3864"/>
          <dgm:constr type="w" for="ch" forName="Accent3" refType="w" fact="0.0704"/>
          <dgm:constr type="h" for="ch" forName="Accent3" refType="h" fact="0.069"/>
          <dgm:constr type="l" for="ch" forName="Accent4" refType="w" fact="0.5931"/>
          <dgm:constr type="t" for="ch" forName="Accent4" refType="h" fact="0.9048"/>
          <dgm:constr type="w" for="ch" forName="Accent4" refType="w" fact="0.0972"/>
          <dgm:constr type="h" for="ch" forName="Accent4" refType="h" fact="0.0952"/>
          <dgm:constr type="l" for="ch" forName="Accent5" refType="w" fact="0.2883"/>
          <dgm:constr type="t" for="ch" forName="Accent5" refType="h" fact="0.1353"/>
          <dgm:constr type="w" for="ch" forName="Accent5" refType="w" fact="0.0704"/>
          <dgm:constr type="h" for="ch" forName="Accent5" refType="h" fact="0.069"/>
          <dgm:constr type="l" for="ch" forName="Accent6" refType="w" fact="0.0666"/>
          <dgm:constr type="t" for="ch" forName="Accent6" refType="h" fact="0.53"/>
          <dgm:constr type="w" for="ch" forName="Accent6" refType="w" fact="0.0704"/>
          <dgm:constr type="h" for="ch" forName="Accent6" refType="h" fact="0.069"/>
        </dgm:constrLst>
      </dgm:if>
      <dgm:if name="Name3" axis="ch ch" ptType="node node" func="cnt" op="equ" val="1">
        <dgm:alg type="composite">
          <dgm:param type="ar" val="1.2476"/>
        </dgm:alg>
        <dgm:constrLst>
          <dgm:constr type="primFontSz" for="des" ptType="node" op="equ" val="65"/>
          <dgm:constr type="l" for="ch" forName="Parent" refType="w" fact="0.2145"/>
          <dgm:constr type="t" for="ch" forName="Parent" refType="h" fact="0.039"/>
          <dgm:constr type="w" for="ch" forName="Parent" refType="w" fact="0.6861"/>
          <dgm:constr type="h" for="ch" forName="Parent" refType="h" fact="0.856"/>
          <dgm:constr type="l" for="ch" forName="Accent8" refType="w" fact="0.0262"/>
          <dgm:constr type="t" for="ch" forName="Accent8" refType="h" fact="0.6434"/>
          <dgm:constr type="w" for="ch" forName="Accent8" refType="w" fact="0.138"/>
          <dgm:constr type="h" for="ch" forName="Accent8" refType="h" fact="0.1721"/>
          <dgm:constr type="l" for="ch" forName="Accent1" refType="w" fact="0.6059"/>
          <dgm:constr type="t" for="ch" forName="Accent1" refType="h" fact="0"/>
          <dgm:constr type="w" for="ch" forName="Accent1" refType="w" fact="0.0763"/>
          <dgm:constr type="h" for="ch" forName="Accent1" refType="h" fact="0.0952"/>
          <dgm:constr type="l" for="ch" forName="Accent2" refType="w" fact="0.4253"/>
          <dgm:constr type="t" for="ch" forName="Accent2" refType="h" fact="0.8314"/>
          <dgm:constr type="w" for="ch" forName="Accent2" refType="w" fact="0.0553"/>
          <dgm:constr type="h" for="ch" forName="Accent2" refType="h" fact="0.069"/>
          <dgm:constr type="l" for="ch" forName="Accent3" refType="w" fact="0.9447"/>
          <dgm:constr type="t" for="ch" forName="Accent3" refType="h" fact="0.3864"/>
          <dgm:constr type="w" for="ch" forName="Accent3" refType="w" fact="0.0553"/>
          <dgm:constr type="h" for="ch" forName="Accent3" refType="h" fact="0.069"/>
          <dgm:constr type="l" for="ch" forName="Child1" refType="w" fact="0"/>
          <dgm:constr type="t" for="ch" forName="Child1" refType="h" fact="0.1935"/>
          <dgm:constr type="w" for="ch" forName="Child1" refType="w" fact="0.2789"/>
          <dgm:constr type="h" for="ch" forName="Child1" refType="h" fact="0.3479"/>
          <dgm:constr type="l" for="ch" forName="Accent4" refType="w" fact="0.6803"/>
          <dgm:constr type="t" for="ch" forName="Accent4" refType="h" fact="0.9048"/>
          <dgm:constr type="w" for="ch" forName="Accent4" refType="w" fact="0.0763"/>
          <dgm:constr type="h" for="ch" forName="Accent4" refType="h" fact="0.0952"/>
          <dgm:constr type="l" for="ch" forName="Accent7" refType="w" fact="0.5287"/>
          <dgm:constr type="t" for="ch" forName="Accent7" refType="h" fact="0.1383"/>
          <dgm:constr type="w" for="ch" forName="Accent7" refType="w" fact="0.0763"/>
          <dgm:constr type="h" for="ch" forName="Accent7" refType="h" fact="0.0952"/>
          <dgm:constr type="l" for="ch" forName="Accent5" refType="w" fact="0.4409"/>
          <dgm:constr type="t" for="ch" forName="Accent5" refType="h" fact="0.1353"/>
          <dgm:constr type="w" for="ch" forName="Accent5" refType="w" fact="0.0553"/>
          <dgm:constr type="h" for="ch" forName="Accent5" refType="h" fact="0.069"/>
          <dgm:constr type="l" for="ch" forName="Accent6" refType="w" fact="0.2668"/>
          <dgm:constr type="t" for="ch" forName="Accent6" refType="h" fact="0.53"/>
          <dgm:constr type="w" for="ch" forName="Accent6" refType="w" fact="0.0553"/>
          <dgm:constr type="h" for="ch" forName="Accent6" refType="h" fact="0.069"/>
        </dgm:constrLst>
      </dgm:if>
      <dgm:if name="Name4" axis="ch ch" ptType="node node" func="cnt" op="equ" val="2">
        <dgm:alg type="composite">
          <dgm:param type="ar" val="1.592"/>
        </dgm:alg>
        <dgm:constrLst>
          <dgm:constr type="primFontSz" for="des" ptType="node" op="equ" val="65"/>
          <dgm:constr type="l" for="ch" forName="Parent" refType="w" fact="0.1886"/>
          <dgm:constr type="t" for="ch" forName="Parent" refType="h" fact="0.039"/>
          <dgm:constr type="w" for="ch" forName="Parent" refType="w" fact="0.5377"/>
          <dgm:constr type="h" for="ch" forName="Parent" refType="h" fact="0.856"/>
          <dgm:constr type="l" for="ch" forName="Accent8" refType="w" fact="0.0411"/>
          <dgm:constr type="t" for="ch" forName="Accent8" refType="h" fact="0.6434"/>
          <dgm:constr type="w" for="ch" forName="Accent8" refType="w" fact="0.1081"/>
          <dgm:constr type="h" for="ch" forName="Accent8" refType="h" fact="0.1721"/>
          <dgm:constr type="l" for="ch" forName="Accent1" refType="w" fact="0.4954"/>
          <dgm:constr type="t" for="ch" forName="Accent1" refType="h" fact="0"/>
          <dgm:constr type="w" for="ch" forName="Accent1" refType="w" fact="0.0598"/>
          <dgm:constr type="h" for="ch" forName="Accent1" refType="h" fact="0.0952"/>
          <dgm:constr type="l" for="ch" forName="Accent2" refType="w" fact="0.3538"/>
          <dgm:constr type="t" for="ch" forName="Accent2" refType="h" fact="0.8314"/>
          <dgm:constr type="w" for="ch" forName="Accent2" refType="w" fact="0.0433"/>
          <dgm:constr type="h" for="ch" forName="Accent2" refType="h" fact="0.069"/>
          <dgm:constr type="l" for="ch" forName="Accent3" refType="w" fact="0.7609"/>
          <dgm:constr type="t" for="ch" forName="Accent3" refType="h" fact="0.3864"/>
          <dgm:constr type="w" for="ch" forName="Accent3" refType="w" fact="0.0433"/>
          <dgm:constr type="h" for="ch" forName="Accent3" refType="h" fact="0.069"/>
          <dgm:constr type="l" for="ch" forName="Accent9" refType="w" fact="0.6839"/>
          <dgm:constr type="t" for="ch" forName="Accent9" refType="h" fact="0.27"/>
          <dgm:constr type="w" for="ch" forName="Accent9" refType="w" fact="0.0598"/>
          <dgm:constr type="h" for="ch" forName="Accent9" refType="h" fact="0.0952"/>
          <dgm:constr type="l" for="ch" forName="Child1" refType="w" fact="0.0206"/>
          <dgm:constr type="t" for="ch" forName="Child1" refType="h" fact="0.1935"/>
          <dgm:constr type="w" for="ch" forName="Child1" refType="w" fact="0.2186"/>
          <dgm:constr type="h" for="ch" forName="Child1" refType="h" fact="0.3479"/>
          <dgm:constr type="l" for="ch" forName="Child2" refType="w" fact="0.7814"/>
          <dgm:constr type="t" for="ch" forName="Child2" refType="h" fact="0.0298"/>
          <dgm:constr type="w" for="ch" forName="Child2" refType="w" fact="0.2186"/>
          <dgm:constr type="h" for="ch" forName="Child2" refType="h" fact="0.3479"/>
          <dgm:constr type="l" for="ch" forName="Accent10" refType="w" fact="0"/>
          <dgm:constr type="t" for="ch" forName="Accent10" refType="h" fact="0.8482"/>
          <dgm:constr type="w" for="ch" forName="Accent10" refType="w" fact="0.0433"/>
          <dgm:constr type="h" for="ch" forName="Accent10" refType="h" fact="0.069"/>
          <dgm:constr type="l" for="ch" forName="Accent11" refType="w" fact="0.4318"/>
          <dgm:constr type="t" for="ch" forName="Accent11" refType="h" fact="0.75"/>
          <dgm:constr type="w" for="ch" forName="Accent11" refType="w" fact="0.0433"/>
          <dgm:constr type="h" for="ch" forName="Accent11" refType="h" fact="0.069"/>
          <dgm:constr type="l" for="ch" forName="Accent7" refType="w" fact="0.4349"/>
          <dgm:constr type="t" for="ch" forName="Accent7" refType="h" fact="0.1383"/>
          <dgm:constr type="w" for="ch" forName="Accent7" refType="w" fact="0.0598"/>
          <dgm:constr type="h" for="ch" forName="Accent7" refType="h" fact="0.0952"/>
          <dgm:constr type="l" for="ch" forName="Accent5" refType="w" fact="0.3661"/>
          <dgm:constr type="t" for="ch" forName="Accent5" refType="h" fact="0.1353"/>
          <dgm:constr type="w" for="ch" forName="Accent5" refType="w" fact="0.0433"/>
          <dgm:constr type="h" for="ch" forName="Accent5" refType="h" fact="0.069"/>
          <dgm:constr type="l" for="ch" forName="Accent6" refType="w" fact="0.2296"/>
          <dgm:constr type="t" for="ch" forName="Accent6" refType="h" fact="0.53"/>
          <dgm:constr type="w" for="ch" forName="Accent6" refType="w" fact="0.0433"/>
          <dgm:constr type="h" for="ch" forName="Accent6" refType="h" fact="0.069"/>
          <dgm:constr type="l" for="ch" forName="Accent4" refType="w" fact="0.5537"/>
          <dgm:constr type="t" for="ch" forName="Accent4" refType="h" fact="0.9048"/>
          <dgm:constr type="w" for="ch" forName="Accent4" refType="w" fact="0.0598"/>
          <dgm:constr type="h" for="ch" forName="Accent4" refType="h" fact="0.0952"/>
        </dgm:constrLst>
      </dgm:if>
      <dgm:if name="Name5" axis="ch ch" ptType="node node" func="cnt" op="equ" val="3">
        <dgm:alg type="composite">
          <dgm:param type="ar" val="1.7557"/>
        </dgm:alg>
        <dgm:constrLst>
          <dgm:constr type="primFontSz" for="des" ptType="node" op="equ" val="65"/>
          <dgm:constr type="l" for="ch" forName="Parent" refType="w" fact="0.171"/>
          <dgm:constr type="t" for="ch" forName="Parent" refType="h" fact="0.039"/>
          <dgm:constr type="w" for="ch" forName="Parent" refType="w" fact="0.4875"/>
          <dgm:constr type="h" for="ch" forName="Parent" refType="h" fact="0.856"/>
          <dgm:constr type="l" for="ch" forName="Accent8" refType="w" fact="0.0373"/>
          <dgm:constr type="t" for="ch" forName="Accent8" refType="h" fact="0.6434"/>
          <dgm:constr type="w" for="ch" forName="Accent8" refType="w" fact="0.098"/>
          <dgm:constr type="h" for="ch" forName="Accent8" refType="h" fact="0.1721"/>
          <dgm:constr type="l" for="ch" forName="Accent1" refType="w" fact="0.4492"/>
          <dgm:constr type="t" for="ch" forName="Accent1" refType="h" fact="0"/>
          <dgm:constr type="w" for="ch" forName="Accent1" refType="w" fact="0.0542"/>
          <dgm:constr type="h" for="ch" forName="Accent1" refType="h" fact="0.0952"/>
          <dgm:constr type="l" for="ch" forName="Accent2" refType="w" fact="0.3209"/>
          <dgm:constr type="t" for="ch" forName="Accent2" refType="h" fact="0.8314"/>
          <dgm:constr type="w" for="ch" forName="Accent2" refType="w" fact="0.0393"/>
          <dgm:constr type="h" for="ch" forName="Accent2" refType="h" fact="0.069"/>
          <dgm:constr type="l" for="ch" forName="Accent3" refType="w" fact="0.6899"/>
          <dgm:constr type="t" for="ch" forName="Accent3" refType="h" fact="0.3864"/>
          <dgm:constr type="w" for="ch" forName="Accent3" refType="w" fact="0.0393"/>
          <dgm:constr type="h" for="ch" forName="Accent3" refType="h" fact="0.069"/>
          <dgm:constr type="l" for="ch" forName="Accent9" refType="w" fact="0.6201"/>
          <dgm:constr type="t" for="ch" forName="Accent9" refType="h" fact="0.27"/>
          <dgm:constr type="w" for="ch" forName="Accent9" refType="w" fact="0.0542"/>
          <dgm:constr type="h" for="ch" forName="Accent9" refType="h" fact="0.0952"/>
          <dgm:constr type="l" for="ch" forName="Child1" refType="w" fact="0.0186"/>
          <dgm:constr type="t" for="ch" forName="Child1" refType="h" fact="0.1935"/>
          <dgm:constr type="w" for="ch" forName="Child1" refType="w" fact="0.1982"/>
          <dgm:constr type="h" for="ch" forName="Child1" refType="h" fact="0.3479"/>
          <dgm:constr type="l" for="ch" forName="Child2" refType="w" fact="0.7086"/>
          <dgm:constr type="t" for="ch" forName="Child2" refType="h" fact="0.0298"/>
          <dgm:constr type="w" for="ch" forName="Child2" refType="w" fact="0.1982"/>
          <dgm:constr type="h" for="ch" forName="Child2" refType="h" fact="0.3479"/>
          <dgm:constr type="l" for="ch" forName="Child3" refType="w" fact="0.8018"/>
          <dgm:constr type="t" for="ch" forName="Child3" refType="h" fact="0.6312"/>
          <dgm:constr type="w" for="ch" forName="Child3" refType="w" fact="0.1982"/>
          <dgm:constr type="h" for="ch" forName="Child3" refType="h" fact="0.3479"/>
          <dgm:constr type="l" for="ch" forName="Accent12" refType="w" fact="0.7459"/>
          <dgm:constr type="t" for="ch" forName="Accent12" refType="h" fact="0.619"/>
          <dgm:constr type="w" for="ch" forName="Accent12" refType="w" fact="0.0393"/>
          <dgm:constr type="h" for="ch" forName="Accent12" refType="h" fact="0.069"/>
          <dgm:constr type="l" for="ch" forName="Accent4" refType="w" fact="0.5021"/>
          <dgm:constr type="t" for="ch" forName="Accent4" refType="h" fact="0.9048"/>
          <dgm:constr type="w" for="ch" forName="Accent4" refType="w" fact="0.0542"/>
          <dgm:constr type="h" for="ch" forName="Accent4" refType="h" fact="0.0952"/>
          <dgm:constr type="l" for="ch" forName="Accent10" refType="w" fact="0"/>
          <dgm:constr type="t" for="ch" forName="Accent10" refType="h" fact="0.8482"/>
          <dgm:constr type="w" for="ch" forName="Accent10" refType="w" fact="0.0393"/>
          <dgm:constr type="h" for="ch" forName="Accent10" refType="h" fact="0.069"/>
          <dgm:constr type="l" for="ch" forName="Accent11" refType="w" fact="0.3916"/>
          <dgm:constr type="t" for="ch" forName="Accent11" refType="h" fact="0.75"/>
          <dgm:constr type="w" for="ch" forName="Accent11" refType="w" fact="0.0393"/>
          <dgm:constr type="h" for="ch" forName="Accent11" refType="h" fact="0.069"/>
          <dgm:constr type="l" for="ch" forName="Accent7" refType="w" fact="0.3944"/>
          <dgm:constr type="t" for="ch" forName="Accent7" refType="h" fact="0.1383"/>
          <dgm:constr type="w" for="ch" forName="Accent7" refType="w" fact="0.0542"/>
          <dgm:constr type="h" for="ch" forName="Accent7" refType="h" fact="0.0952"/>
          <dgm:constr type="l" for="ch" forName="Accent5" refType="w" fact="0.3319"/>
          <dgm:constr type="t" for="ch" forName="Accent5" refType="h" fact="0.1353"/>
          <dgm:constr type="w" for="ch" forName="Accent5" refType="w" fact="0.0393"/>
          <dgm:constr type="h" for="ch" forName="Accent5" refType="h" fact="0.069"/>
          <dgm:constr type="l" for="ch" forName="Accent6" refType="w" fact="0.2082"/>
          <dgm:constr type="t" for="ch" forName="Accent6" refType="h" fact="0.53"/>
          <dgm:constr type="w" for="ch" forName="Accent6" refType="w" fact="0.0393"/>
          <dgm:constr type="h" for="ch" forName="Accent6" refType="h" fact="0.069"/>
        </dgm:constrLst>
      </dgm:if>
      <dgm:if name="Name6" axis="ch ch" ptType="node node" func="cnt" op="equ" val="4">
        <dgm:alg type="composite">
          <dgm:param type="ar" val="1.3749"/>
        </dgm:alg>
        <dgm:constrLst>
          <dgm:constr type="primFontSz" for="des" ptType="node" op="equ" val="65"/>
          <dgm:constr type="l" for="ch" forName="Parent" refType="w" fact="0.171"/>
          <dgm:constr type="t" for="ch" forName="Parent" refType="h" fact="0.0306"/>
          <dgm:constr type="w" for="ch" forName="Parent" refType="w" fact="0.4875"/>
          <dgm:constr type="h" for="ch" forName="Parent" refType="h" fact="0.6703"/>
          <dgm:constr type="l" for="ch" forName="Accent8" refType="w" fact="0.0373"/>
          <dgm:constr type="t" for="ch" forName="Accent8" refType="h" fact="0.5038"/>
          <dgm:constr type="w" for="ch" forName="Accent8" refType="w" fact="0.098"/>
          <dgm:constr type="h" for="ch" forName="Accent8" refType="h" fact="0.1348"/>
          <dgm:constr type="l" for="ch" forName="Accent1" refType="w" fact="0.4492"/>
          <dgm:constr type="t" for="ch" forName="Accent1" refType="h" fact="0"/>
          <dgm:constr type="w" for="ch" forName="Accent1" refType="w" fact="0.0542"/>
          <dgm:constr type="h" for="ch" forName="Accent1" refType="h" fact="0.0746"/>
          <dgm:constr type="l" for="ch" forName="Accent2" refType="w" fact="0.3209"/>
          <dgm:constr type="t" for="ch" forName="Accent2" refType="h" fact="0.6511"/>
          <dgm:constr type="w" for="ch" forName="Accent2" refType="w" fact="0.0393"/>
          <dgm:constr type="h" for="ch" forName="Accent2" refType="h" fact="0.054"/>
          <dgm:constr type="l" for="ch" forName="Accent3" refType="w" fact="0.6899"/>
          <dgm:constr type="t" for="ch" forName="Accent3" refType="h" fact="0.3026"/>
          <dgm:constr type="w" for="ch" forName="Accent3" refType="w" fact="0.0393"/>
          <dgm:constr type="h" for="ch" forName="Accent3" refType="h" fact="0.054"/>
          <dgm:constr type="l" for="ch" forName="Accent9" refType="w" fact="0.6201"/>
          <dgm:constr type="t" for="ch" forName="Accent9" refType="h" fact="0.2115"/>
          <dgm:constr type="w" for="ch" forName="Accent9" refType="w" fact="0.0542"/>
          <dgm:constr type="h" for="ch" forName="Accent9" refType="h" fact="0.0746"/>
          <dgm:constr type="l" for="ch" forName="Child1" refType="w" fact="0.0186"/>
          <dgm:constr type="t" for="ch" forName="Child1" refType="h" fact="0.1515"/>
          <dgm:constr type="w" for="ch" forName="Child1" refType="w" fact="0.1982"/>
          <dgm:constr type="h" for="ch" forName="Child1" refType="h" fact="0.2725"/>
          <dgm:constr type="l" for="ch" forName="Child2" refType="w" fact="0.7086"/>
          <dgm:constr type="t" for="ch" forName="Child2" refType="h" fact="0.0233"/>
          <dgm:constr type="w" for="ch" forName="Child2" refType="w" fact="0.1982"/>
          <dgm:constr type="h" for="ch" forName="Child2" refType="h" fact="0.2725"/>
          <dgm:constr type="l" for="ch" forName="Child3" refType="w" fact="0.8018"/>
          <dgm:constr type="t" for="ch" forName="Child3" refType="h" fact="0.4943"/>
          <dgm:constr type="w" for="ch" forName="Child3" refType="w" fact="0.1982"/>
          <dgm:constr type="h" for="ch" forName="Child3" refType="h" fact="0.2725"/>
          <dgm:constr type="l" for="ch" forName="Accent12" refType="w" fact="0.7459"/>
          <dgm:constr type="t" for="ch" forName="Accent12" refType="h" fact="0.4848"/>
          <dgm:constr type="w" for="ch" forName="Accent12" refType="w" fact="0.0393"/>
          <dgm:constr type="h" for="ch" forName="Accent12" refType="h" fact="0.054"/>
          <dgm:constr type="l" for="ch" forName="Accent4" refType="w" fact="0.5021"/>
          <dgm:constr type="t" for="ch" forName="Accent4" refType="h" fact="0.7085"/>
          <dgm:constr type="w" for="ch" forName="Accent4" refType="w" fact="0.0542"/>
          <dgm:constr type="h" for="ch" forName="Accent4" refType="h" fact="0.0746"/>
          <dgm:constr type="l" for="ch" forName="Accent10" refType="w" fact="0"/>
          <dgm:constr type="t" for="ch" forName="Accent10" refType="h" fact="0.6642"/>
          <dgm:constr type="w" for="ch" forName="Accent10" refType="w" fact="0.0393"/>
          <dgm:constr type="h" for="ch" forName="Accent10" refType="h" fact="0.054"/>
          <dgm:constr type="l" for="ch" forName="Accent11" refType="w" fact="0.3916"/>
          <dgm:constr type="t" for="ch" forName="Accent11" refType="h" fact="0.5873"/>
          <dgm:constr type="w" for="ch" forName="Accent11" refType="w" fact="0.0393"/>
          <dgm:constr type="h" for="ch" forName="Accent11" refType="h" fact="0.054"/>
          <dgm:constr type="l" for="ch" forName="Accent7" refType="w" fact="0.3944"/>
          <dgm:constr type="t" for="ch" forName="Accent7" refType="h" fact="0.1083"/>
          <dgm:constr type="w" for="ch" forName="Accent7" refType="w" fact="0.0542"/>
          <dgm:constr type="h" for="ch" forName="Accent7" refType="h" fact="0.0746"/>
          <dgm:constr type="l" for="ch" forName="Accent5" refType="w" fact="0.3319"/>
          <dgm:constr type="t" for="ch" forName="Accent5" refType="h" fact="0.1059"/>
          <dgm:constr type="w" for="ch" forName="Accent5" refType="w" fact="0.0393"/>
          <dgm:constr type="h" for="ch" forName="Accent5" refType="h" fact="0.054"/>
          <dgm:constr type="l" for="ch" forName="Accent6" refType="w" fact="0.2082"/>
          <dgm:constr type="t" for="ch" forName="Accent6" refType="h" fact="0.4151"/>
          <dgm:constr type="w" for="ch" forName="Accent6" refType="w" fact="0.0393"/>
          <dgm:constr type="h" for="ch" forName="Accent6" refType="h" fact="0.054"/>
          <dgm:constr type="l" for="ch" forName="Child4" refType="w" fact="0.2329"/>
          <dgm:constr type="t" for="ch" forName="Child4" refType="h" fact="0.7275"/>
          <dgm:constr type="w" for="ch" forName="Child4" refType="w" fact="0.1982"/>
          <dgm:constr type="h" for="ch" forName="Child4" refType="h" fact="0.2725"/>
          <dgm:constr type="l" for="ch" forName="Accent13" refType="w" fact="0.4099"/>
          <dgm:constr type="t" for="ch" forName="Accent13" refType="h" fact="0.7183"/>
          <dgm:constr type="w" for="ch" forName="Accent13" refType="w" fact="0.0393"/>
          <dgm:constr type="h" for="ch" forName="Accent13" refType="h" fact="0.054"/>
        </dgm:constrLst>
      </dgm:if>
      <dgm:else name="Name7">
        <dgm:alg type="composite">
          <dgm:param type="ar" val="1.1477"/>
        </dgm:alg>
        <dgm:constrLst>
          <dgm:constr type="primFontSz" for="des" ptType="node" op="equ" val="65"/>
          <dgm:constr type="l" for="ch" forName="Parent" refType="w" fact="0.171"/>
          <dgm:constr type="t" for="ch" forName="Parent" refType="h" fact="0.1907"/>
          <dgm:constr type="w" for="ch" forName="Parent" refType="w" fact="0.4875"/>
          <dgm:constr type="h" for="ch" forName="Parent" refType="h" fact="0.5596"/>
          <dgm:constr type="l" for="ch" forName="Accent8" refType="w" fact="0.0373"/>
          <dgm:constr type="t" for="ch" forName="Accent8" refType="h" fact="0.5858"/>
          <dgm:constr type="w" for="ch" forName="Accent8" refType="w" fact="0.098"/>
          <dgm:constr type="h" for="ch" forName="Accent8" refType="h" fact="0.1125"/>
          <dgm:constr type="l" for="ch" forName="Accent1" refType="w" fact="0.4492"/>
          <dgm:constr type="t" for="ch" forName="Accent1" refType="h" fact="0.1652"/>
          <dgm:constr type="w" for="ch" forName="Accent1" refType="w" fact="0.0542"/>
          <dgm:constr type="h" for="ch" forName="Accent1" refType="h" fact="0.0623"/>
          <dgm:constr type="l" for="ch" forName="Accent2" refType="w" fact="0.3209"/>
          <dgm:constr type="t" for="ch" forName="Accent2" refType="h" fact="0.7087"/>
          <dgm:constr type="w" for="ch" forName="Accent2" refType="w" fact="0.0393"/>
          <dgm:constr type="h" for="ch" forName="Accent2" refType="h" fact="0.0451"/>
          <dgm:constr type="l" for="ch" forName="Accent3" refType="w" fact="0.6899"/>
          <dgm:constr type="t" for="ch" forName="Accent3" refType="h" fact="0.4178"/>
          <dgm:constr type="w" for="ch" forName="Accent3" refType="w" fact="0.0393"/>
          <dgm:constr type="h" for="ch" forName="Accent3" refType="h" fact="0.0451"/>
          <dgm:constr type="l" for="ch" forName="Accent9" refType="w" fact="0.6201"/>
          <dgm:constr type="t" for="ch" forName="Accent9" refType="h" fact="0.3417"/>
          <dgm:constr type="w" for="ch" forName="Accent9" refType="w" fact="0.0542"/>
          <dgm:constr type="h" for="ch" forName="Accent9" refType="h" fact="0.0623"/>
          <dgm:constr type="l" for="ch" forName="Child1" refType="w" fact="0.0186"/>
          <dgm:constr type="t" for="ch" forName="Child1" refType="h" fact="0.2917"/>
          <dgm:constr type="w" for="ch" forName="Child1" refType="w" fact="0.1982"/>
          <dgm:constr type="h" for="ch" forName="Child1" refType="h" fact="0.2275"/>
          <dgm:constr type="l" for="ch" forName="Child2" refType="w" fact="0.7086"/>
          <dgm:constr type="t" for="ch" forName="Child2" refType="h" fact="0.1847"/>
          <dgm:constr type="w" for="ch" forName="Child2" refType="w" fact="0.1982"/>
          <dgm:constr type="h" for="ch" forName="Child2" refType="h" fact="0.2275"/>
          <dgm:constr type="l" for="ch" forName="Child3" refType="w" fact="0.8018"/>
          <dgm:constr type="t" for="ch" forName="Child3" refType="h" fact="0.5778"/>
          <dgm:constr type="w" for="ch" forName="Child3" refType="w" fact="0.1982"/>
          <dgm:constr type="h" for="ch" forName="Child3" refType="h" fact="0.2275"/>
          <dgm:constr type="l" for="ch" forName="Accent12" refType="w" fact="0.7459"/>
          <dgm:constr type="t" for="ch" forName="Accent12" refType="h" fact="0.5699"/>
          <dgm:constr type="w" for="ch" forName="Accent12" refType="w" fact="0.0393"/>
          <dgm:constr type="h" for="ch" forName="Accent12" refType="h" fact="0.0451"/>
          <dgm:constr type="l" for="ch" forName="Accent4" refType="w" fact="0.5021"/>
          <dgm:constr type="t" for="ch" forName="Accent4" refType="h" fact="0.7567"/>
          <dgm:constr type="w" for="ch" forName="Accent4" refType="w" fact="0.0542"/>
          <dgm:constr type="h" for="ch" forName="Accent4" refType="h" fact="0.0623"/>
          <dgm:constr type="l" for="ch" forName="Accent10" refType="w" fact="0"/>
          <dgm:constr type="t" for="ch" forName="Accent10" refType="h" fact="0.7197"/>
          <dgm:constr type="w" for="ch" forName="Accent10" refType="w" fact="0.0393"/>
          <dgm:constr type="h" for="ch" forName="Accent10" refType="h" fact="0.0451"/>
          <dgm:constr type="l" for="ch" forName="Accent11" refType="w" fact="0.3916"/>
          <dgm:constr type="t" for="ch" forName="Accent11" refType="h" fact="0.6555"/>
          <dgm:constr type="w" for="ch" forName="Accent11" refType="w" fact="0.0393"/>
          <dgm:constr type="h" for="ch" forName="Accent11" refType="h" fact="0.0451"/>
          <dgm:constr type="l" for="ch" forName="Accent7" refType="w" fact="0.3944"/>
          <dgm:constr type="t" for="ch" forName="Accent7" refType="h" fact="0.2556"/>
          <dgm:constr type="w" for="ch" forName="Accent7" refType="w" fact="0.0542"/>
          <dgm:constr type="h" for="ch" forName="Accent7" refType="h" fact="0.0623"/>
          <dgm:constr type="l" for="ch" forName="Accent5" refType="w" fact="0.3319"/>
          <dgm:constr type="t" for="ch" forName="Accent5" refType="h" fact="0.2536"/>
          <dgm:constr type="w" for="ch" forName="Accent5" refType="w" fact="0.0393"/>
          <dgm:constr type="h" for="ch" forName="Accent5" refType="h" fact="0.0451"/>
          <dgm:constr type="l" for="ch" forName="Accent6" refType="w" fact="0.2082"/>
          <dgm:constr type="t" for="ch" forName="Accent6" refType="h" fact="0.5117"/>
          <dgm:constr type="w" for="ch" forName="Accent6" refType="w" fact="0.0393"/>
          <dgm:constr type="h" for="ch" forName="Accent6" refType="h" fact="0.0451"/>
          <dgm:constr type="l" for="ch" forName="Child5" refType="w" fact="0.4219"/>
          <dgm:constr type="t" for="ch" forName="Child5" refType="h" fact="0"/>
          <dgm:constr type="w" for="ch" forName="Child5" refType="w" fact="0.1982"/>
          <dgm:constr type="h" for="ch" forName="Child5" refType="h" fact="0.2275"/>
          <dgm:constr type="l" for="ch" forName="Child4" refType="w" fact="0.2329"/>
          <dgm:constr type="t" for="ch" forName="Child4" refType="h" fact="0.7725"/>
          <dgm:constr type="w" for="ch" forName="Child4" refType="w" fact="0.1982"/>
          <dgm:constr type="h" for="ch" forName="Child4" refType="h" fact="0.2275"/>
          <dgm:constr type="l" for="ch" forName="Accent15" refType="w" fact="0.1775"/>
          <dgm:constr type="t" for="ch" forName="Accent15" refType="h" fact="0.2466"/>
          <dgm:constr type="w" for="ch" forName="Accent15" refType="w" fact="0.0393"/>
          <dgm:constr type="h" for="ch" forName="Accent15" refType="h" fact="0.0451"/>
          <dgm:constr type="l" for="ch" forName="Accent16" refType="w" fact="0.6351"/>
          <dgm:constr type="t" for="ch" forName="Accent16" refType="h" fact="0.056"/>
          <dgm:constr type="w" for="ch" forName="Accent16" refType="w" fact="0.0393"/>
          <dgm:constr type="h" for="ch" forName="Accent16" refType="h" fact="0.0451"/>
          <dgm:constr type="l" for="ch" forName="Accent13" refType="w" fact="0.4099"/>
          <dgm:constr type="t" for="ch" forName="Accent13" refType="h" fact="0.7648"/>
          <dgm:constr type="w" for="ch" forName="Accent13" refType="w" fact="0.0393"/>
          <dgm:constr type="h" for="ch" forName="Accent13" refType="h" fact="0.0451"/>
        </dgm:constrLst>
      </dgm:else>
    </dgm:choose>
    <dgm:forEach name="wrapper" axis="self" ptType="parTrans">
      <dgm:forEach name="accentRepeat1" axis="self">
        <dgm:layoutNode name="AccentHold1" styleLbl="node1">
          <dgm:alg type="sp"/>
          <dgm:shape xmlns:r="http://schemas.openxmlformats.org/officeDocument/2006/relationships" type="ellipse" r:blip="">
            <dgm:adjLst/>
          </dgm:shape>
          <dgm:presOf/>
        </dgm:layoutNode>
      </dgm:forEach>
      <dgm:forEach name="accentRepeat2" axis="self">
        <dgm:layoutNode name="AccentHold2" styleLbl="node1">
          <dgm:alg type="sp"/>
          <dgm:shape xmlns:r="http://schemas.openxmlformats.org/officeDocument/2006/relationships" type="ellipse" r:blip="">
            <dgm:adjLst/>
          </dgm:shape>
          <dgm:presOf/>
        </dgm:layoutNode>
      </dgm:forEach>
      <dgm:forEach name="accentRepeat3" axis="self">
        <dgm:layoutNode name="AccentHold3" styleLbl="node1">
          <dgm:alg type="sp"/>
          <dgm:shape xmlns:r="http://schemas.openxmlformats.org/officeDocument/2006/relationships" type="ellipse" r:blip="">
            <dgm:adjLst/>
          </dgm:shape>
          <dgm:presOf/>
        </dgm:layoutNode>
      </dgm:forEach>
    </dgm:forEach>
    <dgm:forEach name="Name8" axis="ch" ptType="node" cnt="1">
      <dgm:layoutNode name="Parent" styleLbl="node0">
        <dgm:varLst>
          <dgm:chMax val="5"/>
          <dgm:chPref val="5"/>
        </dgm:varLst>
        <dgm:alg type="tx"/>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ch" ptType="node" func="cnt" op="lte" val="4">
          <dgm:layoutNode name="Accent1" styleLbl="node1">
            <dgm:alg type="sp"/>
            <dgm:shape xmlns:r="http://schemas.openxmlformats.org/officeDocument/2006/relationships" type="ellipse" r:blip="">
              <dgm:adjLst/>
            </dgm:shape>
            <dgm:presOf/>
            <dgm:constrLst/>
          </dgm:layoutNode>
        </dgm:if>
        <dgm:else name="Name11"/>
      </dgm:choose>
      <dgm:layoutNode name="Accent2" styleLbl="node1">
        <dgm:alg type="sp"/>
        <dgm:shape xmlns:r="http://schemas.openxmlformats.org/officeDocument/2006/relationships" type="ellipse" r:blip="">
          <dgm:adjLst/>
        </dgm:shape>
        <dgm:presOf/>
        <dgm:constrLst/>
      </dgm:layoutNode>
      <dgm:layoutNode name="Accent3" styleLbl="node1">
        <dgm:alg type="sp"/>
        <dgm:shape xmlns:r="http://schemas.openxmlformats.org/officeDocument/2006/relationships" type="ellipse" r:blip="">
          <dgm:adjLst/>
        </dgm:shape>
        <dgm:presOf/>
        <dgm:constrLst/>
      </dgm:layoutNode>
      <dgm:layoutNode name="Accent4" styleLbl="node1">
        <dgm:alg type="sp"/>
        <dgm:shape xmlns:r="http://schemas.openxmlformats.org/officeDocument/2006/relationships" type="ellipse" r:blip="">
          <dgm:adjLst/>
        </dgm:shape>
        <dgm:presOf/>
        <dgm:constrLst/>
      </dgm:layoutNode>
      <dgm:layoutNode name="Accent5" styleLbl="node1">
        <dgm:alg type="sp"/>
        <dgm:shape xmlns:r="http://schemas.openxmlformats.org/officeDocument/2006/relationships" type="ellipse" r:blip="">
          <dgm:adjLst/>
        </dgm:shape>
        <dgm:presOf/>
        <dgm:constrLst/>
      </dgm:layoutNode>
      <dgm:layoutNode name="Accent6" styleLbl="node1">
        <dgm:alg type="sp"/>
        <dgm:shape xmlns:r="http://schemas.openxmlformats.org/officeDocument/2006/relationships" type="ellipse" r:blip="">
          <dgm:adjLst/>
        </dgm:shape>
        <dgm:presOf/>
        <dgm:constrLst/>
      </dgm:layoutNode>
    </dgm:forEach>
    <dgm:forEach name="Name12" axis="ch ch" ptType="node node" st="1 1" cnt="1 1">
      <dgm:layoutNode name="Child1"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7">
        <dgm:alg type="sp"/>
        <dgm:shape xmlns:r="http://schemas.openxmlformats.org/officeDocument/2006/relationships" r:blip="">
          <dgm:adjLst/>
        </dgm:shape>
        <dgm:presOf/>
        <dgm:constrLst/>
        <dgm:forEach name="Name13" ref="accentRepeat1"/>
      </dgm:layoutNode>
      <dgm:layoutNode name="Accent8">
        <dgm:alg type="sp"/>
        <dgm:shape xmlns:r="http://schemas.openxmlformats.org/officeDocument/2006/relationships" r:blip="">
          <dgm:adjLst/>
        </dgm:shape>
        <dgm:presOf/>
        <dgm:constrLst/>
        <dgm:forEach name="Name14" ref="accentRepeat2"/>
      </dgm:layoutNode>
    </dgm:forEach>
    <dgm:forEach name="Name15" axis="ch ch" ptType="node node" st="1 2" cnt="1 1">
      <dgm:layoutNode name="Child2"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9">
        <dgm:alg type="sp"/>
        <dgm:shape xmlns:r="http://schemas.openxmlformats.org/officeDocument/2006/relationships" r:blip="">
          <dgm:adjLst/>
        </dgm:shape>
        <dgm:presOf/>
        <dgm:constrLst/>
        <dgm:forEach name="Name16" ref="accentRepeat1"/>
      </dgm:layoutNode>
      <dgm:layoutNode name="Accent10">
        <dgm:alg type="sp"/>
        <dgm:shape xmlns:r="http://schemas.openxmlformats.org/officeDocument/2006/relationships" r:blip="">
          <dgm:adjLst/>
        </dgm:shape>
        <dgm:presOf/>
        <dgm:constrLst/>
        <dgm:forEach name="Name17" ref="accentRepeat2"/>
      </dgm:layoutNode>
      <dgm:layoutNode name="Accent11">
        <dgm:alg type="sp"/>
        <dgm:shape xmlns:r="http://schemas.openxmlformats.org/officeDocument/2006/relationships" r:blip="">
          <dgm:adjLst/>
        </dgm:shape>
        <dgm:presOf/>
        <dgm:constrLst/>
        <dgm:forEach name="Name18" ref="accentRepeat3"/>
      </dgm:layoutNode>
    </dgm:forEach>
    <dgm:forEach name="Name19" axis="ch ch" ptType="node node" st="1 3" cnt="1 1">
      <dgm:layoutNode name="Child3"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2">
        <dgm:alg type="sp"/>
        <dgm:shape xmlns:r="http://schemas.openxmlformats.org/officeDocument/2006/relationships" r:blip="">
          <dgm:adjLst/>
        </dgm:shape>
        <dgm:presOf/>
        <dgm:constrLst/>
        <dgm:forEach name="Name20" ref="accentRepeat1"/>
      </dgm:layoutNode>
    </dgm:forEach>
    <dgm:forEach name="Name21" axis="ch ch" ptType="node node" st="1 4" cnt="1 1">
      <dgm:layoutNode name="Child4"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3">
        <dgm:alg type="sp"/>
        <dgm:shape xmlns:r="http://schemas.openxmlformats.org/officeDocument/2006/relationships" r:blip="">
          <dgm:adjLst/>
        </dgm:shape>
        <dgm:presOf/>
        <dgm:constrLst/>
        <dgm:forEach name="Name22" ref="accentRepeat1"/>
      </dgm:layoutNode>
    </dgm:forEach>
    <dgm:forEach name="Name23" axis="ch ch" ptType="node node" st="1 5" cnt="1 1">
      <dgm:layoutNode name="Child5"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5">
        <dgm:alg type="sp"/>
        <dgm:shape xmlns:r="http://schemas.openxmlformats.org/officeDocument/2006/relationships" r:blip="">
          <dgm:adjLst/>
        </dgm:shape>
        <dgm:presOf/>
        <dgm:constrLst/>
        <dgm:forEach name="Name24" ref="accentRepeat2"/>
      </dgm:layoutNode>
      <dgm:layoutNode name="Accent16">
        <dgm:alg type="sp"/>
        <dgm:shape xmlns:r="http://schemas.openxmlformats.org/officeDocument/2006/relationships" r:blip="">
          <dgm:adjLst/>
        </dgm:shape>
        <dgm:presOf/>
        <dgm:constrLst/>
        <dgm:forEach name="Name25" ref="accentRepeat3"/>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39AABD0E-3101-4564-9EFF-B3BBF32EA978}" type="datetimeFigureOut">
              <a:rPr lang="de-DE" smtClean="0"/>
              <a:pPr/>
              <a:t>14.01.2022</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7EA06E4F-8004-4186-852A-627D056050BA}" type="slidenum">
              <a:rPr lang="de-DE" smtClean="0"/>
              <a:pPr/>
              <a:t>‹Nr.›</a:t>
            </a:fld>
            <a:endParaRPr lang="de-DE" dirty="0"/>
          </a:p>
        </p:txBody>
      </p:sp>
    </p:spTree>
    <p:extLst>
      <p:ext uri="{BB962C8B-B14F-4D97-AF65-F5344CB8AC3E}">
        <p14:creationId xmlns:p14="http://schemas.microsoft.com/office/powerpoint/2010/main" val="16730112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Wenn man bei seiner Suchmaschine den Begriff Hacker eingibt, bekommt man überwiegend solche Ergebnisse. Einen mysteriös gekleideten Menschen, mit Kapuzenpulli der in seinen Laptop oder seinen Computer schaut. Im Raum ist es überwiegend dunkel, manchmal sieht man noch blaue oder grüne Zeichen im Hintergrund.</a:t>
            </a:r>
          </a:p>
          <a:p>
            <a:r>
              <a:rPr lang="de-DE" dirty="0"/>
              <a:t>Meistens haben die Bilder etwas mystisches und zwielichtiges an sich und es schwingt immer das Bild eines Kriminellen mit sich.</a:t>
            </a:r>
            <a:br>
              <a:rPr lang="de-DE" dirty="0"/>
            </a:br>
            <a:r>
              <a:rPr lang="de-DE" dirty="0"/>
              <a:t>Zur Belustigung hab ich euch noch ein weiteres Bild mitgebracht, hier sogar mit Lederhandschuhen.</a:t>
            </a:r>
          </a:p>
          <a:p>
            <a:endParaRPr lang="de-DE" dirty="0"/>
          </a:p>
          <a:p>
            <a:r>
              <a:rPr lang="de-DE" dirty="0"/>
              <a:t>Wir als Informatiknahe Studierende wissen natürlich, dass dieses Bild nicht stimmt. Zumindest nicht ganz.</a:t>
            </a:r>
          </a:p>
          <a:p>
            <a:endParaRPr lang="de-DE" dirty="0"/>
          </a:p>
          <a:p>
            <a:r>
              <a:rPr lang="de-DE" dirty="0"/>
              <a:t>Aber was ist dann eigentlich ein Hacker?</a:t>
            </a:r>
          </a:p>
          <a:p>
            <a:endParaRPr lang="de-DE" dirty="0"/>
          </a:p>
          <a:p>
            <a:r>
              <a:rPr lang="de-DE" dirty="0"/>
              <a:t>Um die Hackerethik verstehen zu wollen müssen wir erst die Hackerkultur und den geschichtlichen Hintergrund kennen.</a:t>
            </a:r>
          </a:p>
        </p:txBody>
      </p:sp>
      <p:sp>
        <p:nvSpPr>
          <p:cNvPr id="4" name="Foliennummernplatzhalter 3"/>
          <p:cNvSpPr>
            <a:spLocks noGrp="1"/>
          </p:cNvSpPr>
          <p:nvPr>
            <p:ph type="sldNum" sz="quarter" idx="5"/>
          </p:nvPr>
        </p:nvSpPr>
        <p:spPr/>
        <p:txBody>
          <a:bodyPr/>
          <a:lstStyle/>
          <a:p>
            <a:fld id="{7EA06E4F-8004-4186-852A-627D056050BA}" type="slidenum">
              <a:rPr lang="de-DE" smtClean="0"/>
              <a:pPr/>
              <a:t>6</a:t>
            </a:fld>
            <a:endParaRPr lang="de-DE" dirty="0"/>
          </a:p>
        </p:txBody>
      </p:sp>
    </p:spTree>
    <p:extLst>
      <p:ext uri="{BB962C8B-B14F-4D97-AF65-F5344CB8AC3E}">
        <p14:creationId xmlns:p14="http://schemas.microsoft.com/office/powerpoint/2010/main" val="15011947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7</a:t>
            </a:fld>
            <a:endParaRPr lang="de-DE" dirty="0"/>
          </a:p>
        </p:txBody>
      </p:sp>
    </p:spTree>
    <p:extLst>
      <p:ext uri="{BB962C8B-B14F-4D97-AF65-F5344CB8AC3E}">
        <p14:creationId xmlns:p14="http://schemas.microsoft.com/office/powerpoint/2010/main" val="34549458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8</a:t>
            </a:fld>
            <a:endParaRPr lang="de-DE" dirty="0"/>
          </a:p>
        </p:txBody>
      </p:sp>
    </p:spTree>
    <p:extLst>
      <p:ext uri="{BB962C8B-B14F-4D97-AF65-F5344CB8AC3E}">
        <p14:creationId xmlns:p14="http://schemas.microsoft.com/office/powerpoint/2010/main" val="40863046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9</a:t>
            </a:fld>
            <a:endParaRPr lang="de-DE" dirty="0"/>
          </a:p>
        </p:txBody>
      </p:sp>
    </p:spTree>
    <p:extLst>
      <p:ext uri="{BB962C8B-B14F-4D97-AF65-F5344CB8AC3E}">
        <p14:creationId xmlns:p14="http://schemas.microsoft.com/office/powerpoint/2010/main" val="31099281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0</a:t>
            </a:fld>
            <a:endParaRPr lang="de-DE" dirty="0"/>
          </a:p>
        </p:txBody>
      </p:sp>
    </p:spTree>
    <p:extLst>
      <p:ext uri="{BB962C8B-B14F-4D97-AF65-F5344CB8AC3E}">
        <p14:creationId xmlns:p14="http://schemas.microsoft.com/office/powerpoint/2010/main" val="5532294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platzhalter">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0EE4EC5F-563F-40D7-BF90-104230A53F2C}"/>
              </a:ext>
            </a:extLst>
          </p:cNvPr>
          <p:cNvSpPr>
            <a:spLocks noGrp="1" noMove="1" noResize="1"/>
          </p:cNvSpPr>
          <p:nvPr>
            <p:ph type="pic" sz="quarter" idx="13"/>
            <p:custDataLst>
              <p:tags r:id="rId1"/>
            </p:custDataLst>
          </p:nvPr>
        </p:nvSpPr>
        <p:spPr>
          <a:xfrm>
            <a:off x="1" y="0"/>
            <a:ext cx="12192000" cy="6858000"/>
          </a:xfrm>
          <a:solidFill>
            <a:schemeClr val="accent3"/>
          </a:solidFill>
        </p:spPr>
        <p:txBody>
          <a:bodyPr anchor="ctr"/>
          <a:lstStyle>
            <a:lvl1pPr algn="l">
              <a:defRPr/>
            </a:lvl1pPr>
          </a:lstStyle>
          <a:p>
            <a:r>
              <a:rPr lang="de-DE"/>
              <a:t>Bild durch Klicken auf Symbol hinzufügen</a:t>
            </a:r>
            <a:endParaRPr lang="de-DE" dirty="0"/>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2"/>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Tree>
    <p:extLst>
      <p:ext uri="{BB962C8B-B14F-4D97-AF65-F5344CB8AC3E}">
        <p14:creationId xmlns:p14="http://schemas.microsoft.com/office/powerpoint/2010/main" val="3157844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Inhalte ho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7" name="Inhaltsplatzhalter 3">
            <a:extLst>
              <a:ext uri="{FF2B5EF4-FFF2-40B4-BE49-F238E27FC236}">
                <a16:creationId xmlns:a16="http://schemas.microsoft.com/office/drawing/2014/main" id="{3098D400-4FAC-4905-8C59-0E75C77468DB}"/>
              </a:ext>
            </a:extLst>
          </p:cNvPr>
          <p:cNvSpPr>
            <a:spLocks noGrp="1"/>
          </p:cNvSpPr>
          <p:nvPr>
            <p:ph sz="half" idx="17"/>
          </p:nvPr>
        </p:nvSpPr>
        <p:spPr>
          <a:xfrm>
            <a:off x="3453001"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8" name="Inhaltsplatzhalter 3">
            <a:extLst>
              <a:ext uri="{FF2B5EF4-FFF2-40B4-BE49-F238E27FC236}">
                <a16:creationId xmlns:a16="http://schemas.microsoft.com/office/drawing/2014/main" id="{B27D7517-1F80-4410-A024-467AAECFD141}"/>
              </a:ext>
            </a:extLst>
          </p:cNvPr>
          <p:cNvSpPr>
            <a:spLocks noGrp="1"/>
          </p:cNvSpPr>
          <p:nvPr>
            <p:ph sz="half" idx="18"/>
          </p:nvPr>
        </p:nvSpPr>
        <p:spPr>
          <a:xfrm>
            <a:off x="6186601"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9" name="Inhaltsplatzhalter 3">
            <a:extLst>
              <a:ext uri="{FF2B5EF4-FFF2-40B4-BE49-F238E27FC236}">
                <a16:creationId xmlns:a16="http://schemas.microsoft.com/office/drawing/2014/main" id="{BBA34017-76D9-4ACE-A80A-C4B588141ECE}"/>
              </a:ext>
            </a:extLst>
          </p:cNvPr>
          <p:cNvSpPr>
            <a:spLocks noGrp="1"/>
          </p:cNvSpPr>
          <p:nvPr>
            <p:ph sz="half" idx="19"/>
          </p:nvPr>
        </p:nvSpPr>
        <p:spPr>
          <a:xfrm>
            <a:off x="8920200"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E1255E67-0CE1-4D27-BC06-DE752AE0041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255A6D47-6662-4AC1-A871-F45F50B9F9F1}"/>
              </a:ext>
            </a:extLst>
          </p:cNvPr>
          <p:cNvSpPr>
            <a:spLocks noGrp="1"/>
          </p:cNvSpPr>
          <p:nvPr>
            <p:ph type="dt" sz="half" idx="23"/>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3865191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Textplatzhalter 2">
            <a:extLst>
              <a:ext uri="{FF2B5EF4-FFF2-40B4-BE49-F238E27FC236}">
                <a16:creationId xmlns:a16="http://schemas.microsoft.com/office/drawing/2014/main" id="{20E3030E-913B-4F84-A866-3D40507550D2}"/>
              </a:ext>
            </a:extLst>
          </p:cNvPr>
          <p:cNvSpPr>
            <a:spLocks noGrp="1"/>
          </p:cNvSpPr>
          <p:nvPr>
            <p:ph type="body" idx="1"/>
          </p:nvPr>
        </p:nvSpPr>
        <p:spPr>
          <a:xfrm>
            <a:off x="719401" y="1674000"/>
            <a:ext cx="5196001" cy="540000"/>
          </a:xfrm>
        </p:spPr>
        <p:txBody>
          <a:bodyPr anchor="t">
            <a:noAutofit/>
          </a:bodyPr>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2277375"/>
            <a:ext cx="5196001" cy="4040626"/>
          </a:xfrm>
        </p:spPr>
        <p:txBody>
          <a:bodyPr/>
          <a:lstStyle/>
          <a:p>
            <a:pPr lvl="0"/>
            <a:r>
              <a:rPr lang="de-DE"/>
              <a:t>Mastertextformat bearbeiten</a:t>
            </a:r>
          </a:p>
        </p:txBody>
      </p:sp>
      <p:sp>
        <p:nvSpPr>
          <p:cNvPr id="5" name="Textplatzhalter 4">
            <a:extLst>
              <a:ext uri="{FF2B5EF4-FFF2-40B4-BE49-F238E27FC236}">
                <a16:creationId xmlns:a16="http://schemas.microsoft.com/office/drawing/2014/main" id="{01D75CB9-FB12-4938-AECC-FDD65377DBD7}"/>
              </a:ext>
            </a:extLst>
          </p:cNvPr>
          <p:cNvSpPr>
            <a:spLocks noGrp="1"/>
          </p:cNvSpPr>
          <p:nvPr>
            <p:ph type="body" sz="quarter" idx="3"/>
          </p:nvPr>
        </p:nvSpPr>
        <p:spPr>
          <a:xfrm>
            <a:off x="6277800" y="1674000"/>
            <a:ext cx="5194800" cy="540000"/>
          </a:xfrm>
        </p:spPr>
        <p:txBody>
          <a:bodyPr anchor="t">
            <a:noAutofit/>
          </a:bodyPr>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4F85BD4D-9B6C-40C6-B62A-F48962F211DA}"/>
              </a:ext>
            </a:extLst>
          </p:cNvPr>
          <p:cNvSpPr>
            <a:spLocks noGrp="1"/>
          </p:cNvSpPr>
          <p:nvPr>
            <p:ph sz="quarter" idx="4"/>
          </p:nvPr>
        </p:nvSpPr>
        <p:spPr>
          <a:xfrm>
            <a:off x="6277800" y="2277375"/>
            <a:ext cx="5194800" cy="4040626"/>
          </a:xfrm>
        </p:spPr>
        <p:txBody>
          <a:body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8" name="Fußzeilenplatzhalter 7">
            <a:extLst>
              <a:ext uri="{FF2B5EF4-FFF2-40B4-BE49-F238E27FC236}">
                <a16:creationId xmlns:a16="http://schemas.microsoft.com/office/drawing/2014/main" id="{27298EEE-A916-45ED-8E8C-5A99A2CDD195}"/>
              </a:ext>
            </a:extLst>
          </p:cNvPr>
          <p:cNvSpPr>
            <a:spLocks noGrp="1"/>
          </p:cNvSpPr>
          <p:nvPr>
            <p:ph type="ftr" sz="quarter" idx="15"/>
          </p:nvPr>
        </p:nvSpPr>
        <p:spPr/>
        <p:txBody>
          <a:bodyPr/>
          <a:lstStyle/>
          <a:p>
            <a:r>
              <a:rPr lang="de-DE"/>
              <a:t>|    Fußzeile Universität Augsburg</a:t>
            </a:r>
            <a:endParaRPr lang="de-DE" dirty="0"/>
          </a:p>
        </p:txBody>
      </p:sp>
      <p:sp>
        <p:nvSpPr>
          <p:cNvPr id="9" name="Foliennummernplatzhalter 8">
            <a:extLst>
              <a:ext uri="{FF2B5EF4-FFF2-40B4-BE49-F238E27FC236}">
                <a16:creationId xmlns:a16="http://schemas.microsoft.com/office/drawing/2014/main" id="{A2A635F8-28ED-4745-BBF2-D3265A40AFA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EE80AB-FF50-477F-94E4-815F7D8EF286}"/>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02E6AFF8-1ADC-4411-A485-AA3F205D383C}"/>
              </a:ext>
            </a:extLst>
          </p:cNvPr>
          <p:cNvSpPr>
            <a:spLocks noGrp="1"/>
          </p:cNvSpPr>
          <p:nvPr>
            <p:ph type="dt" sz="half" idx="17"/>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2053990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ergleich plus minus">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4C78BD95-A5F9-4798-A3D3-6E0EC108E17C}"/>
              </a:ext>
            </a:extLst>
          </p:cNvPr>
          <p:cNvSpPr/>
          <p:nvPr userDrawn="1"/>
        </p:nvSpPr>
        <p:spPr>
          <a:xfrm>
            <a:off x="719401" y="1674000"/>
            <a:ext cx="5196001" cy="4739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a:extLst>
              <a:ext uri="{FF2B5EF4-FFF2-40B4-BE49-F238E27FC236}">
                <a16:creationId xmlns:a16="http://schemas.microsoft.com/office/drawing/2014/main" id="{9226B967-CF45-45AF-9D6F-CA94823B3B27}"/>
              </a:ext>
            </a:extLst>
          </p:cNvPr>
          <p:cNvSpPr/>
          <p:nvPr userDrawn="1"/>
        </p:nvSpPr>
        <p:spPr>
          <a:xfrm>
            <a:off x="6277200" y="1674000"/>
            <a:ext cx="5196001" cy="4739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2277375"/>
            <a:ext cx="5196001" cy="4040626"/>
          </a:xfrm>
        </p:spPr>
        <p:txBody>
          <a:bodyPr/>
          <a:lstStyle/>
          <a:p>
            <a:pPr lvl="0"/>
            <a:r>
              <a:rPr lang="de-DE"/>
              <a:t>Mastertextformat bearbeiten</a:t>
            </a:r>
          </a:p>
        </p:txBody>
      </p:sp>
      <p:sp>
        <p:nvSpPr>
          <p:cNvPr id="6" name="Inhaltsplatzhalter 5">
            <a:extLst>
              <a:ext uri="{FF2B5EF4-FFF2-40B4-BE49-F238E27FC236}">
                <a16:creationId xmlns:a16="http://schemas.microsoft.com/office/drawing/2014/main" id="{4F85BD4D-9B6C-40C6-B62A-F48962F211DA}"/>
              </a:ext>
            </a:extLst>
          </p:cNvPr>
          <p:cNvSpPr>
            <a:spLocks noGrp="1"/>
          </p:cNvSpPr>
          <p:nvPr>
            <p:ph sz="quarter" idx="4"/>
          </p:nvPr>
        </p:nvSpPr>
        <p:spPr>
          <a:xfrm>
            <a:off x="6277800" y="2277375"/>
            <a:ext cx="5194800" cy="4040626"/>
          </a:xfrm>
        </p:spPr>
        <p:txBody>
          <a:body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3302"/>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0" name="Additionszeichen 9">
            <a:extLst>
              <a:ext uri="{FF2B5EF4-FFF2-40B4-BE49-F238E27FC236}">
                <a16:creationId xmlns:a16="http://schemas.microsoft.com/office/drawing/2014/main" id="{CFE04C63-67E3-4BE5-81AF-4847CD8DBC29}"/>
              </a:ext>
            </a:extLst>
          </p:cNvPr>
          <p:cNvSpPr/>
          <p:nvPr userDrawn="1"/>
        </p:nvSpPr>
        <p:spPr>
          <a:xfrm>
            <a:off x="3131862" y="1725451"/>
            <a:ext cx="371078" cy="371076"/>
          </a:xfrm>
          <a:prstGeom prst="mathPlus">
            <a:avLst>
              <a:gd name="adj1" fmla="val 905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6BDE7D3A-3B28-4B14-9BF1-785A2019FF30}"/>
              </a:ext>
            </a:extLst>
          </p:cNvPr>
          <p:cNvSpPr/>
          <p:nvPr userDrawn="1"/>
        </p:nvSpPr>
        <p:spPr>
          <a:xfrm>
            <a:off x="8741076" y="1892989"/>
            <a:ext cx="268250" cy="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Fußzeilenplatzhalter 4">
            <a:extLst>
              <a:ext uri="{FF2B5EF4-FFF2-40B4-BE49-F238E27FC236}">
                <a16:creationId xmlns:a16="http://schemas.microsoft.com/office/drawing/2014/main" id="{63FED06E-0A66-4F07-9CE4-29F9EC589FFF}"/>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429BF6DF-0067-4F7F-8F10-9523911AC1E2}"/>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6" name="Gerader Verbinder 15">
            <a:extLst>
              <a:ext uri="{FF2B5EF4-FFF2-40B4-BE49-F238E27FC236}">
                <a16:creationId xmlns:a16="http://schemas.microsoft.com/office/drawing/2014/main" id="{EE265618-1F87-4DA1-A332-E47A9EFDCFEC}"/>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Datumsplatzhalter 3">
            <a:extLst>
              <a:ext uri="{FF2B5EF4-FFF2-40B4-BE49-F238E27FC236}">
                <a16:creationId xmlns:a16="http://schemas.microsoft.com/office/drawing/2014/main" id="{686B1FBD-DEED-4DE7-AF3E-772443FD2258}"/>
              </a:ext>
            </a:extLst>
          </p:cNvPr>
          <p:cNvSpPr>
            <a:spLocks noGrp="1"/>
          </p:cNvSpPr>
          <p:nvPr>
            <p:ph type="dt" sz="half" idx="17"/>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7534195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zwei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2" name="Textplatzhalter 31">
            <a:extLst>
              <a:ext uri="{FF2B5EF4-FFF2-40B4-BE49-F238E27FC236}">
                <a16:creationId xmlns:a16="http://schemas.microsoft.com/office/drawing/2014/main" id="{87467D8C-1C63-4813-85D1-3AB8DCF20D04}"/>
              </a:ext>
            </a:extLst>
          </p:cNvPr>
          <p:cNvSpPr>
            <a:spLocks noGrp="1"/>
          </p:cNvSpPr>
          <p:nvPr>
            <p:ph type="body" sz="quarter" idx="23"/>
          </p:nvPr>
        </p:nvSpPr>
        <p:spPr>
          <a:xfrm>
            <a:off x="719400" y="1674000"/>
            <a:ext cx="5194800" cy="803326"/>
          </a:xfrm>
          <a:custGeom>
            <a:avLst/>
            <a:gdLst>
              <a:gd name="connsiteX0" fmla="*/ 0 w 5194800"/>
              <a:gd name="connsiteY0" fmla="*/ 0 h 803326"/>
              <a:gd name="connsiteX1" fmla="*/ 5194800 w 5194800"/>
              <a:gd name="connsiteY1" fmla="*/ 0 h 803326"/>
              <a:gd name="connsiteX2" fmla="*/ 5194800 w 5194800"/>
              <a:gd name="connsiteY2" fmla="*/ 539148 h 803326"/>
              <a:gd name="connsiteX3" fmla="*/ 2812153 w 5194800"/>
              <a:gd name="connsiteY3" fmla="*/ 539148 h 803326"/>
              <a:gd name="connsiteX4" fmla="*/ 2389379 w 5194800"/>
              <a:gd name="connsiteY4" fmla="*/ 803326 h 803326"/>
              <a:gd name="connsiteX5" fmla="*/ 2382646 w 5194800"/>
              <a:gd name="connsiteY5" fmla="*/ 803326 h 803326"/>
              <a:gd name="connsiteX6" fmla="*/ 2382646 w 5194800"/>
              <a:gd name="connsiteY6" fmla="*/ 539148 h 803326"/>
              <a:gd name="connsiteX7" fmla="*/ 0 w 51948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4800" h="803326">
                <a:moveTo>
                  <a:pt x="0" y="0"/>
                </a:moveTo>
                <a:lnTo>
                  <a:pt x="5194800" y="0"/>
                </a:lnTo>
                <a:lnTo>
                  <a:pt x="5194800" y="539148"/>
                </a:lnTo>
                <a:lnTo>
                  <a:pt x="2812153" y="539148"/>
                </a:lnTo>
                <a:lnTo>
                  <a:pt x="2389379" y="803326"/>
                </a:lnTo>
                <a:lnTo>
                  <a:pt x="2382646" y="803326"/>
                </a:lnTo>
                <a:lnTo>
                  <a:pt x="23826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5194800" cy="4104853"/>
          </a:xfrm>
          <a:ln w="6350">
            <a:solidFill>
              <a:schemeClr val="tx2"/>
            </a:solidFill>
          </a:ln>
        </p:spPr>
        <p:txBody>
          <a:bodyPr lIns="144000" tIns="396000" rIns="144000" bIns="144000"/>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platzhalter 32">
            <a:extLst>
              <a:ext uri="{FF2B5EF4-FFF2-40B4-BE49-F238E27FC236}">
                <a16:creationId xmlns:a16="http://schemas.microsoft.com/office/drawing/2014/main" id="{083DABCB-9098-4FFE-9D2A-D32B7B91FE01}"/>
              </a:ext>
            </a:extLst>
          </p:cNvPr>
          <p:cNvSpPr>
            <a:spLocks noGrp="1"/>
          </p:cNvSpPr>
          <p:nvPr>
            <p:ph type="body" sz="quarter" idx="25"/>
          </p:nvPr>
        </p:nvSpPr>
        <p:spPr>
          <a:xfrm>
            <a:off x="6277800" y="1674000"/>
            <a:ext cx="5194800" cy="803326"/>
          </a:xfrm>
          <a:custGeom>
            <a:avLst/>
            <a:gdLst>
              <a:gd name="connsiteX0" fmla="*/ 0 w 5194800"/>
              <a:gd name="connsiteY0" fmla="*/ 0 h 803326"/>
              <a:gd name="connsiteX1" fmla="*/ 5194800 w 5194800"/>
              <a:gd name="connsiteY1" fmla="*/ 0 h 803326"/>
              <a:gd name="connsiteX2" fmla="*/ 5194800 w 5194800"/>
              <a:gd name="connsiteY2" fmla="*/ 539148 h 803326"/>
              <a:gd name="connsiteX3" fmla="*/ 2812152 w 5194800"/>
              <a:gd name="connsiteY3" fmla="*/ 539148 h 803326"/>
              <a:gd name="connsiteX4" fmla="*/ 2389379 w 5194800"/>
              <a:gd name="connsiteY4" fmla="*/ 803326 h 803326"/>
              <a:gd name="connsiteX5" fmla="*/ 2382646 w 5194800"/>
              <a:gd name="connsiteY5" fmla="*/ 803326 h 803326"/>
              <a:gd name="connsiteX6" fmla="*/ 2382646 w 5194800"/>
              <a:gd name="connsiteY6" fmla="*/ 539148 h 803326"/>
              <a:gd name="connsiteX7" fmla="*/ 0 w 51948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4800" h="803326">
                <a:moveTo>
                  <a:pt x="0" y="0"/>
                </a:moveTo>
                <a:lnTo>
                  <a:pt x="5194800" y="0"/>
                </a:lnTo>
                <a:lnTo>
                  <a:pt x="5194800" y="539148"/>
                </a:lnTo>
                <a:lnTo>
                  <a:pt x="2812152" y="539148"/>
                </a:lnTo>
                <a:lnTo>
                  <a:pt x="2389379" y="803326"/>
                </a:lnTo>
                <a:lnTo>
                  <a:pt x="2382646" y="803326"/>
                </a:lnTo>
                <a:lnTo>
                  <a:pt x="23826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36" name="Textplatzhalter 35">
            <a:extLst>
              <a:ext uri="{FF2B5EF4-FFF2-40B4-BE49-F238E27FC236}">
                <a16:creationId xmlns:a16="http://schemas.microsoft.com/office/drawing/2014/main" id="{236D5C00-747E-44BB-AD34-A28F6169D48F}"/>
              </a:ext>
            </a:extLst>
          </p:cNvPr>
          <p:cNvSpPr>
            <a:spLocks noGrp="1"/>
          </p:cNvSpPr>
          <p:nvPr>
            <p:ph type="body" sz="quarter" idx="26"/>
          </p:nvPr>
        </p:nvSpPr>
        <p:spPr>
          <a:xfrm>
            <a:off x="6277800" y="2213148"/>
            <a:ext cx="5194800" cy="4104853"/>
          </a:xfrm>
          <a:custGeom>
            <a:avLst/>
            <a:gdLst>
              <a:gd name="connsiteX0" fmla="*/ 0 w 5194800"/>
              <a:gd name="connsiteY0" fmla="*/ 0 h 4104853"/>
              <a:gd name="connsiteX1" fmla="*/ 5194800 w 5194800"/>
              <a:gd name="connsiteY1" fmla="*/ 0 h 4104853"/>
              <a:gd name="connsiteX2" fmla="*/ 5194800 w 5194800"/>
              <a:gd name="connsiteY2" fmla="*/ 3787601 h 4104853"/>
              <a:gd name="connsiteX3" fmla="*/ 4687090 w 5194800"/>
              <a:gd name="connsiteY3" fmla="*/ 4104853 h 4104853"/>
              <a:gd name="connsiteX4" fmla="*/ 0 w 51948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104853">
                <a:moveTo>
                  <a:pt x="0" y="0"/>
                </a:moveTo>
                <a:lnTo>
                  <a:pt x="5194800" y="0"/>
                </a:lnTo>
                <a:lnTo>
                  <a:pt x="5194800" y="3787601"/>
                </a:lnTo>
                <a:lnTo>
                  <a:pt x="4687090" y="4104853"/>
                </a:lnTo>
                <a:lnTo>
                  <a:pt x="0" y="4104853"/>
                </a:lnTo>
                <a:close/>
              </a:path>
            </a:pathLst>
          </a:custGeom>
          <a:ln w="6350">
            <a:solidFill>
              <a:schemeClr val="tx2"/>
            </a:solidFill>
          </a:ln>
        </p:spPr>
        <p:txBody>
          <a:bodyPr wrap="square" lIns="144000" tIns="396000" rIns="144000" bIns="144000">
            <a:noAutofit/>
          </a:bodyPr>
          <a:lstStyle/>
          <a:p>
            <a:pPr lvl="0"/>
            <a:r>
              <a:rPr lang="de-DE"/>
              <a:t>Mastertextformat bearbeiten</a:t>
            </a:r>
          </a:p>
        </p:txBody>
      </p:sp>
      <p:sp>
        <p:nvSpPr>
          <p:cNvPr id="12" name="Datumsplatzhalter 3">
            <a:extLst>
              <a:ext uri="{FF2B5EF4-FFF2-40B4-BE49-F238E27FC236}">
                <a16:creationId xmlns:a16="http://schemas.microsoft.com/office/drawing/2014/main" id="{DDFF0164-73AC-4F47-AC6D-40F1CFDDE765}"/>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5514612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rei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20" name="Textplatzhalter 19">
            <a:extLst>
              <a:ext uri="{FF2B5EF4-FFF2-40B4-BE49-F238E27FC236}">
                <a16:creationId xmlns:a16="http://schemas.microsoft.com/office/drawing/2014/main" id="{B0894B22-1FDE-45F2-A56B-B18FD9C66B37}"/>
              </a:ext>
            </a:extLst>
          </p:cNvPr>
          <p:cNvSpPr>
            <a:spLocks noGrp="1"/>
          </p:cNvSpPr>
          <p:nvPr>
            <p:ph type="body" sz="quarter" idx="23"/>
          </p:nvPr>
        </p:nvSpPr>
        <p:spPr>
          <a:xfrm>
            <a:off x="7194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3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3"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3344400" cy="4104853"/>
          </a:xfrm>
          <a:ln w="6350">
            <a:solidFill>
              <a:schemeClr val="tx2"/>
            </a:solidFill>
          </a:ln>
        </p:spPr>
        <p:txBody>
          <a:bodyPr lIns="144000" tIns="396000" rIns="144000" bIns="144000"/>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platzhalter 21">
            <a:extLst>
              <a:ext uri="{FF2B5EF4-FFF2-40B4-BE49-F238E27FC236}">
                <a16:creationId xmlns:a16="http://schemas.microsoft.com/office/drawing/2014/main" id="{0CEFB671-3706-4C04-BB20-9103BC8E1A38}"/>
              </a:ext>
            </a:extLst>
          </p:cNvPr>
          <p:cNvSpPr>
            <a:spLocks noGrp="1"/>
          </p:cNvSpPr>
          <p:nvPr>
            <p:ph type="body" sz="quarter" idx="25"/>
          </p:nvPr>
        </p:nvSpPr>
        <p:spPr>
          <a:xfrm>
            <a:off x="44238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3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3"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6" name="Textplatzhalter 13">
            <a:extLst>
              <a:ext uri="{FF2B5EF4-FFF2-40B4-BE49-F238E27FC236}">
                <a16:creationId xmlns:a16="http://schemas.microsoft.com/office/drawing/2014/main" id="{DCA64BCA-A541-4E79-ADD7-A9FFBB926F52}"/>
              </a:ext>
            </a:extLst>
          </p:cNvPr>
          <p:cNvSpPr>
            <a:spLocks noGrp="1"/>
          </p:cNvSpPr>
          <p:nvPr>
            <p:ph type="body" sz="quarter" idx="26"/>
          </p:nvPr>
        </p:nvSpPr>
        <p:spPr>
          <a:xfrm>
            <a:off x="4423800" y="2213148"/>
            <a:ext cx="3344400" cy="4104853"/>
          </a:xfrm>
          <a:ln w="6350">
            <a:solidFill>
              <a:schemeClr val="tx2"/>
            </a:solidFill>
          </a:ln>
        </p:spPr>
        <p:txBody>
          <a:bodyPr lIns="144000" tIns="396000" rIns="144000" bIns="144000"/>
          <a:lstStyle/>
          <a:p>
            <a:pPr lvl="0"/>
            <a:r>
              <a:rPr lang="de-DE"/>
              <a:t>Mastertextformat bearbeiten</a:t>
            </a:r>
          </a:p>
        </p:txBody>
      </p:sp>
      <p:sp>
        <p:nvSpPr>
          <p:cNvPr id="25" name="Textplatzhalter 24">
            <a:extLst>
              <a:ext uri="{FF2B5EF4-FFF2-40B4-BE49-F238E27FC236}">
                <a16:creationId xmlns:a16="http://schemas.microsoft.com/office/drawing/2014/main" id="{95058D37-68E1-4A82-B808-35764CBE5B5E}"/>
              </a:ext>
            </a:extLst>
          </p:cNvPr>
          <p:cNvSpPr>
            <a:spLocks noGrp="1"/>
          </p:cNvSpPr>
          <p:nvPr>
            <p:ph type="body" sz="quarter" idx="27"/>
          </p:nvPr>
        </p:nvSpPr>
        <p:spPr>
          <a:xfrm>
            <a:off x="8128200" y="2213148"/>
            <a:ext cx="3344400" cy="4104853"/>
          </a:xfrm>
          <a:custGeom>
            <a:avLst/>
            <a:gdLst>
              <a:gd name="connsiteX0" fmla="*/ 0 w 3344400"/>
              <a:gd name="connsiteY0" fmla="*/ 0 h 4104853"/>
              <a:gd name="connsiteX1" fmla="*/ 3344400 w 3344400"/>
              <a:gd name="connsiteY1" fmla="*/ 0 h 4104853"/>
              <a:gd name="connsiteX2" fmla="*/ 3344400 w 3344400"/>
              <a:gd name="connsiteY2" fmla="*/ 3787601 h 4104853"/>
              <a:gd name="connsiteX3" fmla="*/ 2836690 w 3344400"/>
              <a:gd name="connsiteY3" fmla="*/ 4104853 h 4104853"/>
              <a:gd name="connsiteX4" fmla="*/ 0 w 33444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400" h="4104853">
                <a:moveTo>
                  <a:pt x="0" y="0"/>
                </a:moveTo>
                <a:lnTo>
                  <a:pt x="3344400" y="0"/>
                </a:lnTo>
                <a:lnTo>
                  <a:pt x="3344400" y="3787601"/>
                </a:lnTo>
                <a:lnTo>
                  <a:pt x="2836690" y="4104853"/>
                </a:lnTo>
                <a:lnTo>
                  <a:pt x="0" y="4104853"/>
                </a:lnTo>
                <a:close/>
              </a:path>
            </a:pathLst>
          </a:custGeom>
          <a:ln w="6350">
            <a:solidFill>
              <a:schemeClr val="tx2"/>
            </a:solidFill>
          </a:ln>
        </p:spPr>
        <p:txBody>
          <a:bodyPr wrap="square" lIns="144000" tIns="396000" rIns="144000" bIns="144000">
            <a:noAutofit/>
          </a:bodyPr>
          <a:lstStyle/>
          <a:p>
            <a:pPr lvl="0"/>
            <a:r>
              <a:rPr lang="de-DE"/>
              <a:t>Mastertextformat bearbeiten</a:t>
            </a:r>
          </a:p>
        </p:txBody>
      </p:sp>
      <p:sp>
        <p:nvSpPr>
          <p:cNvPr id="23" name="Textplatzhalter 22">
            <a:extLst>
              <a:ext uri="{FF2B5EF4-FFF2-40B4-BE49-F238E27FC236}">
                <a16:creationId xmlns:a16="http://schemas.microsoft.com/office/drawing/2014/main" id="{A8F5B8E2-5AE2-44E5-9AFF-6E7ED94CEB54}"/>
              </a:ext>
            </a:extLst>
          </p:cNvPr>
          <p:cNvSpPr>
            <a:spLocks noGrp="1"/>
          </p:cNvSpPr>
          <p:nvPr>
            <p:ph type="body" sz="quarter" idx="28"/>
          </p:nvPr>
        </p:nvSpPr>
        <p:spPr>
          <a:xfrm>
            <a:off x="81282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2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2"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7" name="Datumsplatzhalter 3">
            <a:extLst>
              <a:ext uri="{FF2B5EF4-FFF2-40B4-BE49-F238E27FC236}">
                <a16:creationId xmlns:a16="http://schemas.microsoft.com/office/drawing/2014/main" id="{99E6B2D6-07E7-4518-930C-7E0B3CD6B403}"/>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915947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er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16" name="Textplatzhalter 15">
            <a:extLst>
              <a:ext uri="{FF2B5EF4-FFF2-40B4-BE49-F238E27FC236}">
                <a16:creationId xmlns:a16="http://schemas.microsoft.com/office/drawing/2014/main" id="{C31E40C9-C853-4E3D-81EA-DA7129481656}"/>
              </a:ext>
            </a:extLst>
          </p:cNvPr>
          <p:cNvSpPr>
            <a:spLocks noGrp="1"/>
          </p:cNvSpPr>
          <p:nvPr>
            <p:ph type="body" sz="quarter" idx="23"/>
          </p:nvPr>
        </p:nvSpPr>
        <p:spPr>
          <a:xfrm>
            <a:off x="7194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platzhalter 16">
            <a:extLst>
              <a:ext uri="{FF2B5EF4-FFF2-40B4-BE49-F238E27FC236}">
                <a16:creationId xmlns:a16="http://schemas.microsoft.com/office/drawing/2014/main" id="{7127C8F9-E39C-48E0-B578-007D9E2BD2EB}"/>
              </a:ext>
            </a:extLst>
          </p:cNvPr>
          <p:cNvSpPr>
            <a:spLocks noGrp="1"/>
          </p:cNvSpPr>
          <p:nvPr>
            <p:ph type="body" sz="quarter" idx="25"/>
          </p:nvPr>
        </p:nvSpPr>
        <p:spPr>
          <a:xfrm>
            <a:off x="34530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18" name="Textplatzhalter 13">
            <a:extLst>
              <a:ext uri="{FF2B5EF4-FFF2-40B4-BE49-F238E27FC236}">
                <a16:creationId xmlns:a16="http://schemas.microsoft.com/office/drawing/2014/main" id="{305EFEFA-64B4-47B4-B733-1B7CA515EC27}"/>
              </a:ext>
            </a:extLst>
          </p:cNvPr>
          <p:cNvSpPr>
            <a:spLocks noGrp="1"/>
          </p:cNvSpPr>
          <p:nvPr>
            <p:ph type="body" sz="quarter" idx="26"/>
          </p:nvPr>
        </p:nvSpPr>
        <p:spPr>
          <a:xfrm>
            <a:off x="34530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2" name="Textplatzhalter 21">
            <a:extLst>
              <a:ext uri="{FF2B5EF4-FFF2-40B4-BE49-F238E27FC236}">
                <a16:creationId xmlns:a16="http://schemas.microsoft.com/office/drawing/2014/main" id="{70185DFD-9DF1-4A8F-870D-F0572E5D0F8C}"/>
              </a:ext>
            </a:extLst>
          </p:cNvPr>
          <p:cNvSpPr>
            <a:spLocks noGrp="1"/>
          </p:cNvSpPr>
          <p:nvPr>
            <p:ph type="body" sz="quarter" idx="27"/>
          </p:nvPr>
        </p:nvSpPr>
        <p:spPr>
          <a:xfrm>
            <a:off x="61866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23" name="Textplatzhalter 13">
            <a:extLst>
              <a:ext uri="{FF2B5EF4-FFF2-40B4-BE49-F238E27FC236}">
                <a16:creationId xmlns:a16="http://schemas.microsoft.com/office/drawing/2014/main" id="{FA45D731-A6C5-431A-A8B1-288649684510}"/>
              </a:ext>
            </a:extLst>
          </p:cNvPr>
          <p:cNvSpPr>
            <a:spLocks noGrp="1"/>
          </p:cNvSpPr>
          <p:nvPr>
            <p:ph type="body" sz="quarter" idx="28"/>
          </p:nvPr>
        </p:nvSpPr>
        <p:spPr>
          <a:xfrm>
            <a:off x="61866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4" name="Textplatzhalter 23">
            <a:extLst>
              <a:ext uri="{FF2B5EF4-FFF2-40B4-BE49-F238E27FC236}">
                <a16:creationId xmlns:a16="http://schemas.microsoft.com/office/drawing/2014/main" id="{72631360-5D42-4685-83FF-AA8BF842A662}"/>
              </a:ext>
            </a:extLst>
          </p:cNvPr>
          <p:cNvSpPr>
            <a:spLocks noGrp="1"/>
          </p:cNvSpPr>
          <p:nvPr>
            <p:ph type="body" sz="quarter" idx="29"/>
          </p:nvPr>
        </p:nvSpPr>
        <p:spPr>
          <a:xfrm>
            <a:off x="89202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28" name="Textplatzhalter 27">
            <a:extLst>
              <a:ext uri="{FF2B5EF4-FFF2-40B4-BE49-F238E27FC236}">
                <a16:creationId xmlns:a16="http://schemas.microsoft.com/office/drawing/2014/main" id="{2F256FFD-2237-4B88-AEEC-8D8B62C897AF}"/>
              </a:ext>
            </a:extLst>
          </p:cNvPr>
          <p:cNvSpPr>
            <a:spLocks noGrp="1"/>
          </p:cNvSpPr>
          <p:nvPr>
            <p:ph type="body" sz="quarter" idx="30"/>
          </p:nvPr>
        </p:nvSpPr>
        <p:spPr>
          <a:xfrm>
            <a:off x="8920200" y="2213148"/>
            <a:ext cx="2552400" cy="4104853"/>
          </a:xfrm>
          <a:custGeom>
            <a:avLst/>
            <a:gdLst>
              <a:gd name="connsiteX0" fmla="*/ 0 w 2552400"/>
              <a:gd name="connsiteY0" fmla="*/ 0 h 4104853"/>
              <a:gd name="connsiteX1" fmla="*/ 2552400 w 2552400"/>
              <a:gd name="connsiteY1" fmla="*/ 0 h 4104853"/>
              <a:gd name="connsiteX2" fmla="*/ 2552400 w 2552400"/>
              <a:gd name="connsiteY2" fmla="*/ 3787601 h 4104853"/>
              <a:gd name="connsiteX3" fmla="*/ 2044690 w 2552400"/>
              <a:gd name="connsiteY3" fmla="*/ 4104853 h 4104853"/>
              <a:gd name="connsiteX4" fmla="*/ 0 w 25524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2400" h="4104853">
                <a:moveTo>
                  <a:pt x="0" y="0"/>
                </a:moveTo>
                <a:lnTo>
                  <a:pt x="2552400" y="0"/>
                </a:lnTo>
                <a:lnTo>
                  <a:pt x="2552400" y="3787601"/>
                </a:lnTo>
                <a:lnTo>
                  <a:pt x="2044690" y="4104853"/>
                </a:lnTo>
                <a:lnTo>
                  <a:pt x="0" y="4104853"/>
                </a:lnTo>
                <a:close/>
              </a:path>
            </a:pathLst>
          </a:custGeom>
          <a:ln w="6350">
            <a:solidFill>
              <a:schemeClr val="tx2"/>
            </a:solidFill>
          </a:ln>
        </p:spPr>
        <p:txBody>
          <a:bodyPr wrap="square" lIns="90000" tIns="396000" rIns="90000" bIns="90000">
            <a:noAutofit/>
          </a:bodyPr>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9" name="Datumsplatzhalter 3">
            <a:extLst>
              <a:ext uri="{FF2B5EF4-FFF2-40B4-BE49-F238E27FC236}">
                <a16:creationId xmlns:a16="http://schemas.microsoft.com/office/drawing/2014/main" id="{69F6DBB8-CF8B-4EFC-8B03-58F90B33AE9A}"/>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1086016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D2F70A4-ADFE-4708-AB33-8886E4CC1B28}"/>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DE15C926-F79F-46C4-91E5-DDEEE6952DF9}"/>
              </a:ext>
            </a:extLst>
          </p:cNvPr>
          <p:cNvSpPr>
            <a:spLocks noGrp="1"/>
          </p:cNvSpPr>
          <p:nvPr>
            <p:ph type="ftr" sz="quarter" idx="11"/>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52E96900-E160-4F15-8F4F-93A7E009E296}"/>
              </a:ext>
            </a:extLst>
          </p:cNvPr>
          <p:cNvSpPr>
            <a:spLocks noGrp="1"/>
          </p:cNvSpPr>
          <p:nvPr>
            <p:ph type="sldNum" sz="quarter" idx="12"/>
          </p:nvPr>
        </p:nvSpPr>
        <p:spPr/>
        <p:txBody>
          <a:bodyPr/>
          <a:lstStyle/>
          <a:p>
            <a:fld id="{6567D7EC-8799-48C5-898A-08E264972062}" type="slidenum">
              <a:rPr lang="de-DE" smtClean="0"/>
              <a:pPr/>
              <a:t>‹Nr.›</a:t>
            </a:fld>
            <a:endParaRPr lang="de-DE" dirty="0"/>
          </a:p>
        </p:txBody>
      </p:sp>
      <p:cxnSp>
        <p:nvCxnSpPr>
          <p:cNvPr id="6" name="Gerader Verbinder 5">
            <a:extLst>
              <a:ext uri="{FF2B5EF4-FFF2-40B4-BE49-F238E27FC236}">
                <a16:creationId xmlns:a16="http://schemas.microsoft.com/office/drawing/2014/main" id="{E1ECD767-9C3B-4102-881D-A5FAB539895B}"/>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Datumsplatzhalter 3">
            <a:extLst>
              <a:ext uri="{FF2B5EF4-FFF2-40B4-BE49-F238E27FC236}">
                <a16:creationId xmlns:a16="http://schemas.microsoft.com/office/drawing/2014/main" id="{0BB17F61-EED1-4426-977D-7CA29AA51422}"/>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1297215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Unter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B729D4B1-4DB2-487B-B5B4-59CF081D32E3}"/>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5028367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62509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 und Bild">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31D252A2-F584-4876-A9E7-3A56CDE1456F}"/>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Datumsplatzhalter 3">
            <a:extLst>
              <a:ext uri="{FF2B5EF4-FFF2-40B4-BE49-F238E27FC236}">
                <a16:creationId xmlns:a16="http://schemas.microsoft.com/office/drawing/2014/main" id="{A6D736A6-1372-44B8-80B5-57991382E681}"/>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7771277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Netzwerkmotiv">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95FA92F1-0E1F-49C5-80C9-3365CCE3A9E8}"/>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2500"/>
          <a:stretch/>
        </p:blipFill>
        <p:spPr>
          <a:xfrm>
            <a:off x="0" y="0"/>
            <a:ext cx="12192000" cy="6858000"/>
          </a:xfrm>
          <a:prstGeom prst="rect">
            <a:avLst/>
          </a:prstGeom>
        </p:spPr>
      </p:pic>
      <p:sp>
        <p:nvSpPr>
          <p:cNvPr id="6" name="Rechteck 5">
            <a:extLst>
              <a:ext uri="{FF2B5EF4-FFF2-40B4-BE49-F238E27FC236}">
                <a16:creationId xmlns:a16="http://schemas.microsoft.com/office/drawing/2014/main" id="{1E23F841-7E91-4E34-A0EC-B12AEE41B4E9}"/>
              </a:ext>
            </a:extLst>
          </p:cNvPr>
          <p:cNvSpPr/>
          <p:nvPr userDrawn="1"/>
        </p:nvSpPr>
        <p:spPr>
          <a:xfrm>
            <a:off x="1" y="1"/>
            <a:ext cx="12192000" cy="6858000"/>
          </a:xfrm>
          <a:prstGeom prst="rect">
            <a:avLst/>
          </a:prstGeom>
          <a:gradFill flip="none" rotWithShape="1">
            <a:gsLst>
              <a:gs pos="52000">
                <a:schemeClr val="bg1">
                  <a:alpha val="40000"/>
                </a:schemeClr>
              </a:gs>
              <a:gs pos="0">
                <a:schemeClr val="bg1">
                  <a:alpha val="50000"/>
                </a:schemeClr>
              </a:gs>
              <a:gs pos="7000">
                <a:srgbClr val="FFFFFF">
                  <a:alpha val="0"/>
                </a:srgbClr>
              </a:gs>
              <a:gs pos="100000">
                <a:schemeClr val="bg1">
                  <a:alpha val="7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1"/>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Tree>
    <p:extLst>
      <p:ext uri="{BB962C8B-B14F-4D97-AF65-F5344CB8AC3E}">
        <p14:creationId xmlns:p14="http://schemas.microsoft.com/office/powerpoint/2010/main" val="69585391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alt und Bild mit BU-Box">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8" name="Textplatzhalter 7">
            <a:extLst>
              <a:ext uri="{FF2B5EF4-FFF2-40B4-BE49-F238E27FC236}">
                <a16:creationId xmlns:a16="http://schemas.microsoft.com/office/drawing/2014/main" id="{84409322-67A6-4F12-8D72-41A3B5B662E5}"/>
              </a:ext>
            </a:extLst>
          </p:cNvPr>
          <p:cNvSpPr>
            <a:spLocks noGrp="1"/>
          </p:cNvSpPr>
          <p:nvPr>
            <p:ph type="body" sz="quarter" idx="18"/>
          </p:nvPr>
        </p:nvSpPr>
        <p:spPr>
          <a:xfrm>
            <a:off x="6277800" y="4416666"/>
            <a:ext cx="1974701" cy="1406166"/>
          </a:xfrm>
          <a:solidFill>
            <a:schemeClr val="tx2">
              <a:alpha val="90000"/>
            </a:schemeClr>
          </a:solidFill>
        </p:spPr>
        <p:txBody>
          <a:bodyPr lIns="90000" tIns="90000" rIns="90000" bIns="90000"/>
          <a:lstStyle>
            <a:lvl1pPr>
              <a:spcBef>
                <a:spcPts val="600"/>
              </a:spcBef>
              <a:defRPr sz="1000">
                <a:solidFill>
                  <a:schemeClr val="bg1"/>
                </a:solidFill>
              </a:defRPr>
            </a:lvl1pPr>
          </a:lstStyle>
          <a:p>
            <a:pPr lvl="0"/>
            <a:r>
              <a:rPr lang="de-DE"/>
              <a:t>Mastertextformat bearbeiten</a:t>
            </a:r>
          </a:p>
        </p:txBody>
      </p:sp>
      <p:cxnSp>
        <p:nvCxnSpPr>
          <p:cNvPr id="10" name="Gerader Verbinder 9">
            <a:extLst>
              <a:ext uri="{FF2B5EF4-FFF2-40B4-BE49-F238E27FC236}">
                <a16:creationId xmlns:a16="http://schemas.microsoft.com/office/drawing/2014/main" id="{942447BE-7F68-43E3-BEF7-C04C0F292080}"/>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7FF63555-E07A-4B02-ABA4-8D458092C64E}"/>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7107096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 Inhalt 2/3 Bild mit BU-Bo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3344400"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Bildplatzhalter 12">
            <a:extLst>
              <a:ext uri="{FF2B5EF4-FFF2-40B4-BE49-F238E27FC236}">
                <a16:creationId xmlns:a16="http://schemas.microsoft.com/office/drawing/2014/main" id="{2C391855-DEE4-4776-816F-9FDFE9169B27}"/>
              </a:ext>
            </a:extLst>
          </p:cNvPr>
          <p:cNvSpPr>
            <a:spLocks noGrp="1"/>
          </p:cNvSpPr>
          <p:nvPr>
            <p:ph type="pic" sz="quarter" idx="18"/>
          </p:nvPr>
        </p:nvSpPr>
        <p:spPr>
          <a:xfrm>
            <a:off x="4423800" y="1674000"/>
            <a:ext cx="7048800" cy="4644000"/>
          </a:xfrm>
          <a:custGeom>
            <a:avLst/>
            <a:gdLst>
              <a:gd name="connsiteX0" fmla="*/ 0 w 7048800"/>
              <a:gd name="connsiteY0" fmla="*/ 0 h 4644000"/>
              <a:gd name="connsiteX1" fmla="*/ 7048800 w 7048800"/>
              <a:gd name="connsiteY1" fmla="*/ 0 h 4644000"/>
              <a:gd name="connsiteX2" fmla="*/ 7048800 w 7048800"/>
              <a:gd name="connsiteY2" fmla="*/ 4326749 h 4644000"/>
              <a:gd name="connsiteX3" fmla="*/ 6541092 w 7048800"/>
              <a:gd name="connsiteY3" fmla="*/ 4644000 h 4644000"/>
              <a:gd name="connsiteX4" fmla="*/ 0 w 7048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48800" h="4644000">
                <a:moveTo>
                  <a:pt x="0" y="0"/>
                </a:moveTo>
                <a:lnTo>
                  <a:pt x="7048800" y="0"/>
                </a:lnTo>
                <a:lnTo>
                  <a:pt x="7048800" y="4326749"/>
                </a:lnTo>
                <a:lnTo>
                  <a:pt x="6541092" y="4644000"/>
                </a:lnTo>
                <a:lnTo>
                  <a:pt x="0" y="4644000"/>
                </a:lnTo>
                <a:close/>
              </a:path>
            </a:pathLst>
          </a:custGeom>
          <a:solidFill>
            <a:schemeClr val="accent3"/>
          </a:solidFill>
        </p:spPr>
        <p:txBody>
          <a:bodyPr wrap="square">
            <a:noAutofit/>
          </a:bodyPr>
          <a:lstStyle/>
          <a:p>
            <a:r>
              <a:rPr lang="de-DE"/>
              <a:t>Bild durch Klicken auf Symbol hinzufügen</a:t>
            </a:r>
            <a:endParaRPr lang="de-DE" dirty="0"/>
          </a:p>
        </p:txBody>
      </p:sp>
      <p:sp>
        <p:nvSpPr>
          <p:cNvPr id="15" name="Textplatzhalter 7">
            <a:extLst>
              <a:ext uri="{FF2B5EF4-FFF2-40B4-BE49-F238E27FC236}">
                <a16:creationId xmlns:a16="http://schemas.microsoft.com/office/drawing/2014/main" id="{29A14761-D380-48F1-9D44-45AF488797B5}"/>
              </a:ext>
            </a:extLst>
          </p:cNvPr>
          <p:cNvSpPr>
            <a:spLocks noGrp="1"/>
          </p:cNvSpPr>
          <p:nvPr>
            <p:ph type="body" sz="quarter" idx="19"/>
          </p:nvPr>
        </p:nvSpPr>
        <p:spPr>
          <a:xfrm>
            <a:off x="4423800" y="4416666"/>
            <a:ext cx="1974701" cy="1406166"/>
          </a:xfrm>
          <a:solidFill>
            <a:schemeClr val="tx2">
              <a:alpha val="90000"/>
            </a:schemeClr>
          </a:solidFill>
        </p:spPr>
        <p:txBody>
          <a:bodyPr lIns="90000" tIns="90000" rIns="90000" bIns="90000"/>
          <a:lstStyle>
            <a:lvl1pPr>
              <a:spcBef>
                <a:spcPts val="600"/>
              </a:spcBef>
              <a:defRPr sz="1000">
                <a:solidFill>
                  <a:schemeClr val="bg1"/>
                </a:solidFill>
              </a:defRPr>
            </a:lvl1pPr>
          </a:lstStyle>
          <a:p>
            <a:pPr lvl="0"/>
            <a:r>
              <a:rPr lang="de-DE"/>
              <a:t>Mastertextformat bearbeiten</a:t>
            </a:r>
          </a:p>
        </p:txBody>
      </p:sp>
      <p:cxnSp>
        <p:nvCxnSpPr>
          <p:cNvPr id="10" name="Gerader Verbinder 9">
            <a:extLst>
              <a:ext uri="{FF2B5EF4-FFF2-40B4-BE49-F238E27FC236}">
                <a16:creationId xmlns:a16="http://schemas.microsoft.com/office/drawing/2014/main" id="{F97DD6B2-6BB6-4B54-8072-153E6ED7B917}"/>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CE7F20C3-17C8-4E7B-BF2E-6FDE6FC6B2FE}"/>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42598593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zwei Bilder">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8" name="Bildplatzhalter 7">
            <a:extLst>
              <a:ext uri="{FF2B5EF4-FFF2-40B4-BE49-F238E27FC236}">
                <a16:creationId xmlns:a16="http://schemas.microsoft.com/office/drawing/2014/main" id="{A3D5E979-B6F3-499F-86AC-9DA560B943B7}"/>
              </a:ext>
            </a:extLst>
          </p:cNvPr>
          <p:cNvSpPr>
            <a:spLocks noGrp="1"/>
          </p:cNvSpPr>
          <p:nvPr>
            <p:ph type="pic" sz="quarter" idx="15"/>
          </p:nvPr>
        </p:nvSpPr>
        <p:spPr>
          <a:xfrm>
            <a:off x="719998" y="1674000"/>
            <a:ext cx="5196001" cy="4644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Fußzeilenplatzhalter 3">
            <a:extLst>
              <a:ext uri="{FF2B5EF4-FFF2-40B4-BE49-F238E27FC236}">
                <a16:creationId xmlns:a16="http://schemas.microsoft.com/office/drawing/2014/main" id="{6277E495-745A-4917-9709-76F024A90BD8}"/>
              </a:ext>
            </a:extLst>
          </p:cNvPr>
          <p:cNvSpPr>
            <a:spLocks noGrp="1"/>
          </p:cNvSpPr>
          <p:nvPr>
            <p:ph type="ftr" sz="quarter" idx="17"/>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1E2D2E99-9111-4AFA-AFB3-76CD71D81FE1}"/>
              </a:ext>
            </a:extLst>
          </p:cNvPr>
          <p:cNvSpPr>
            <a:spLocks noGrp="1"/>
          </p:cNvSpPr>
          <p:nvPr>
            <p:ph type="sldNum" sz="quarter" idx="18"/>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2FC171BC-79AF-42BF-84CB-39D216F6E301}"/>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Datumsplatzhalter 3">
            <a:extLst>
              <a:ext uri="{FF2B5EF4-FFF2-40B4-BE49-F238E27FC236}">
                <a16:creationId xmlns:a16="http://schemas.microsoft.com/office/drawing/2014/main" id="{11AD1280-0D40-403B-A915-41E2004B69B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800181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agramm">
    <p:spTree>
      <p:nvGrpSpPr>
        <p:cNvPr id="1" name=""/>
        <p:cNvGrpSpPr/>
        <p:nvPr/>
      </p:nvGrpSpPr>
      <p:grpSpPr>
        <a:xfrm>
          <a:off x="0" y="0"/>
          <a:ext cx="0" cy="0"/>
          <a:chOff x="0" y="0"/>
          <a:chExt cx="0" cy="0"/>
        </a:xfrm>
      </p:grpSpPr>
      <p:sp>
        <p:nvSpPr>
          <p:cNvPr id="3" name="Diagrammplatzhalter 2">
            <a:extLst>
              <a:ext uri="{FF2B5EF4-FFF2-40B4-BE49-F238E27FC236}">
                <a16:creationId xmlns:a16="http://schemas.microsoft.com/office/drawing/2014/main" id="{A7627363-86CC-42A8-BCA4-3FEC0149CBBB}"/>
              </a:ext>
            </a:extLst>
          </p:cNvPr>
          <p:cNvSpPr>
            <a:spLocks noGrp="1"/>
          </p:cNvSpPr>
          <p:nvPr>
            <p:ph type="chart" sz="quarter" idx="14"/>
          </p:nvPr>
        </p:nvSpPr>
        <p:spPr>
          <a:xfrm>
            <a:off x="718801" y="1673999"/>
            <a:ext cx="107531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2" name="Titel 1">
            <a:extLst>
              <a:ext uri="{FF2B5EF4-FFF2-40B4-BE49-F238E27FC236}">
                <a16:creationId xmlns:a16="http://schemas.microsoft.com/office/drawing/2014/main" id="{5BD709F6-5C2A-4BEF-B6DE-14B4B4FDA573}"/>
              </a:ext>
            </a:extLst>
          </p:cNvPr>
          <p:cNvSpPr>
            <a:spLocks noGrp="1"/>
          </p:cNvSpPr>
          <p:nvPr>
            <p:ph type="title"/>
          </p:nvPr>
        </p:nvSpPr>
        <p:spPr/>
        <p:txBody>
          <a:bodyPr/>
          <a:lstStyle/>
          <a:p>
            <a:r>
              <a:rPr lang="de-DE"/>
              <a:t>Mastertitelformat bearbeiten</a:t>
            </a:r>
          </a:p>
        </p:txBody>
      </p:sp>
      <p:sp>
        <p:nvSpPr>
          <p:cNvPr id="5" name="Fußzeilenplatzhalter 4">
            <a:extLst>
              <a:ext uri="{FF2B5EF4-FFF2-40B4-BE49-F238E27FC236}">
                <a16:creationId xmlns:a16="http://schemas.microsoft.com/office/drawing/2014/main" id="{17412697-2000-4E1B-8173-9B9587CC95DF}"/>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DCA2C21-3D87-4424-800F-176F6F55868C}"/>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Untertitel 2">
            <a:extLst>
              <a:ext uri="{FF2B5EF4-FFF2-40B4-BE49-F238E27FC236}">
                <a16:creationId xmlns:a16="http://schemas.microsoft.com/office/drawing/2014/main" id="{9EF021A6-4BB9-4550-AD43-5CAC345F4279}"/>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8F720E25-635C-49B5-8824-A82A5FC0672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atumsplatzhalter 3">
            <a:extLst>
              <a:ext uri="{FF2B5EF4-FFF2-40B4-BE49-F238E27FC236}">
                <a16:creationId xmlns:a16="http://schemas.microsoft.com/office/drawing/2014/main" id="{4C269566-882E-46B8-883D-0F7781486015}"/>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1645010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zwei Diagramme">
    <p:spTree>
      <p:nvGrpSpPr>
        <p:cNvPr id="1" name=""/>
        <p:cNvGrpSpPr/>
        <p:nvPr/>
      </p:nvGrpSpPr>
      <p:grpSpPr>
        <a:xfrm>
          <a:off x="0" y="0"/>
          <a:ext cx="0" cy="0"/>
          <a:chOff x="0" y="0"/>
          <a:chExt cx="0" cy="0"/>
        </a:xfrm>
      </p:grpSpPr>
      <p:sp>
        <p:nvSpPr>
          <p:cNvPr id="3" name="Diagrammplatzhalter 2">
            <a:extLst>
              <a:ext uri="{FF2B5EF4-FFF2-40B4-BE49-F238E27FC236}">
                <a16:creationId xmlns:a16="http://schemas.microsoft.com/office/drawing/2014/main" id="{A7627363-86CC-42A8-BCA4-3FEC0149CBBB}"/>
              </a:ext>
            </a:extLst>
          </p:cNvPr>
          <p:cNvSpPr>
            <a:spLocks noGrp="1"/>
          </p:cNvSpPr>
          <p:nvPr>
            <p:ph type="chart" sz="quarter" idx="14"/>
          </p:nvPr>
        </p:nvSpPr>
        <p:spPr>
          <a:xfrm>
            <a:off x="718801" y="1673999"/>
            <a:ext cx="51965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2" name="Titel 1">
            <a:extLst>
              <a:ext uri="{FF2B5EF4-FFF2-40B4-BE49-F238E27FC236}">
                <a16:creationId xmlns:a16="http://schemas.microsoft.com/office/drawing/2014/main" id="{5BD709F6-5C2A-4BEF-B6DE-14B4B4FDA573}"/>
              </a:ext>
            </a:extLst>
          </p:cNvPr>
          <p:cNvSpPr>
            <a:spLocks noGrp="1"/>
          </p:cNvSpPr>
          <p:nvPr>
            <p:ph type="title"/>
          </p:nvPr>
        </p:nvSpPr>
        <p:spPr/>
        <p:txBody>
          <a:bodyPr/>
          <a:lstStyle/>
          <a:p>
            <a:r>
              <a:rPr lang="de-DE"/>
              <a:t>Mastertitelformat bearbeiten</a:t>
            </a:r>
          </a:p>
        </p:txBody>
      </p:sp>
      <p:sp>
        <p:nvSpPr>
          <p:cNvPr id="5" name="Fußzeilenplatzhalter 4">
            <a:extLst>
              <a:ext uri="{FF2B5EF4-FFF2-40B4-BE49-F238E27FC236}">
                <a16:creationId xmlns:a16="http://schemas.microsoft.com/office/drawing/2014/main" id="{17412697-2000-4E1B-8173-9B9587CC95DF}"/>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DCA2C21-3D87-4424-800F-176F6F55868C}"/>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Untertitel 2">
            <a:extLst>
              <a:ext uri="{FF2B5EF4-FFF2-40B4-BE49-F238E27FC236}">
                <a16:creationId xmlns:a16="http://schemas.microsoft.com/office/drawing/2014/main" id="{9EF021A6-4BB9-4550-AD43-5CAC345F4279}"/>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8F720E25-635C-49B5-8824-A82A5FC0672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iagrammplatzhalter 2">
            <a:extLst>
              <a:ext uri="{FF2B5EF4-FFF2-40B4-BE49-F238E27FC236}">
                <a16:creationId xmlns:a16="http://schemas.microsoft.com/office/drawing/2014/main" id="{40153406-C06B-40E8-99C7-229D0C6B031B}"/>
              </a:ext>
            </a:extLst>
          </p:cNvPr>
          <p:cNvSpPr>
            <a:spLocks noGrp="1"/>
          </p:cNvSpPr>
          <p:nvPr>
            <p:ph type="chart" sz="quarter" idx="18"/>
          </p:nvPr>
        </p:nvSpPr>
        <p:spPr>
          <a:xfrm>
            <a:off x="6275400" y="1673999"/>
            <a:ext cx="51965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10" name="Datumsplatzhalter 3">
            <a:extLst>
              <a:ext uri="{FF2B5EF4-FFF2-40B4-BE49-F238E27FC236}">
                <a16:creationId xmlns:a16="http://schemas.microsoft.com/office/drawing/2014/main" id="{02CF29B8-5BA5-488E-8185-4C1E40621590}"/>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753330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 Inhalte qu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a:xfrm>
            <a:off x="719999" y="1674000"/>
            <a:ext cx="5196600" cy="2142000"/>
          </a:xfrm>
        </p:spPr>
        <p:txBody>
          <a:bodyPr/>
          <a:lstStyle>
            <a:lvl5pPr>
              <a:spcBef>
                <a:spcPts val="2400"/>
              </a:spcBef>
              <a:defRPr/>
            </a:lvl5pPr>
          </a:lstStyle>
          <a:p>
            <a:pPr lvl="0"/>
            <a:r>
              <a:rPr lang="de-DE"/>
              <a:t>Mastertextformat bearbeit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Inhaltsplatzhalter 2">
            <a:extLst>
              <a:ext uri="{FF2B5EF4-FFF2-40B4-BE49-F238E27FC236}">
                <a16:creationId xmlns:a16="http://schemas.microsoft.com/office/drawing/2014/main" id="{270BA7FE-E827-4D39-A048-D4CF86BD7DF7}"/>
              </a:ext>
            </a:extLst>
          </p:cNvPr>
          <p:cNvSpPr>
            <a:spLocks noGrp="1"/>
          </p:cNvSpPr>
          <p:nvPr>
            <p:ph idx="17"/>
          </p:nvPr>
        </p:nvSpPr>
        <p:spPr>
          <a:xfrm>
            <a:off x="6276599" y="1674000"/>
            <a:ext cx="5196600" cy="2142000"/>
          </a:xfrm>
        </p:spPr>
        <p:txBody>
          <a:bodyPr/>
          <a:lstStyle>
            <a:lvl5pPr>
              <a:spcBef>
                <a:spcPts val="2400"/>
              </a:spcBef>
              <a:defRPr/>
            </a:lvl5pPr>
          </a:lstStyle>
          <a:p>
            <a:pPr lvl="0"/>
            <a:r>
              <a:rPr lang="de-DE"/>
              <a:t>Mastertextformat bearbeiten</a:t>
            </a:r>
          </a:p>
        </p:txBody>
      </p:sp>
      <p:sp>
        <p:nvSpPr>
          <p:cNvPr id="13" name="Inhaltsplatzhalter 2">
            <a:extLst>
              <a:ext uri="{FF2B5EF4-FFF2-40B4-BE49-F238E27FC236}">
                <a16:creationId xmlns:a16="http://schemas.microsoft.com/office/drawing/2014/main" id="{D99C89F3-D97E-408C-A5DF-94B7F7F34053}"/>
              </a:ext>
            </a:extLst>
          </p:cNvPr>
          <p:cNvSpPr>
            <a:spLocks noGrp="1"/>
          </p:cNvSpPr>
          <p:nvPr>
            <p:ph idx="18"/>
          </p:nvPr>
        </p:nvSpPr>
        <p:spPr>
          <a:xfrm>
            <a:off x="719999" y="4176000"/>
            <a:ext cx="5196600" cy="2142000"/>
          </a:xfrm>
        </p:spPr>
        <p:txBody>
          <a:bodyPr/>
          <a:lstStyle>
            <a:lvl5pPr>
              <a:spcBef>
                <a:spcPts val="2400"/>
              </a:spcBef>
              <a:defRPr/>
            </a:lvl5pPr>
          </a:lstStyle>
          <a:p>
            <a:pPr lvl="0"/>
            <a:r>
              <a:rPr lang="de-DE"/>
              <a:t>Mastertextformat bearbeiten</a:t>
            </a:r>
          </a:p>
        </p:txBody>
      </p:sp>
      <p:sp>
        <p:nvSpPr>
          <p:cNvPr id="14" name="Inhaltsplatzhalter 2">
            <a:extLst>
              <a:ext uri="{FF2B5EF4-FFF2-40B4-BE49-F238E27FC236}">
                <a16:creationId xmlns:a16="http://schemas.microsoft.com/office/drawing/2014/main" id="{DDBCAED4-2F76-438B-B283-1C960E7CC970}"/>
              </a:ext>
            </a:extLst>
          </p:cNvPr>
          <p:cNvSpPr>
            <a:spLocks noGrp="1"/>
          </p:cNvSpPr>
          <p:nvPr>
            <p:ph idx="19"/>
          </p:nvPr>
        </p:nvSpPr>
        <p:spPr>
          <a:xfrm>
            <a:off x="6276599" y="4176000"/>
            <a:ext cx="5196600" cy="2142000"/>
          </a:xfrm>
        </p:spPr>
        <p:txBody>
          <a:bodyPr/>
          <a:lstStyle>
            <a:lvl5pPr>
              <a:spcBef>
                <a:spcPts val="2400"/>
              </a:spcBef>
              <a:defRPr/>
            </a:lvl5pPr>
          </a:lstStyle>
          <a:p>
            <a:pPr lvl="0"/>
            <a:r>
              <a:rPr lang="de-DE"/>
              <a:t>Mastertextformat bearbeiten</a:t>
            </a:r>
          </a:p>
        </p:txBody>
      </p:sp>
      <p:sp>
        <p:nvSpPr>
          <p:cNvPr id="15" name="Datumsplatzhalter 3">
            <a:extLst>
              <a:ext uri="{FF2B5EF4-FFF2-40B4-BE49-F238E27FC236}">
                <a16:creationId xmlns:a16="http://schemas.microsoft.com/office/drawing/2014/main" id="{31CDF8B7-8A40-4DF4-8BB4-5C5AA6A254FE}"/>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6723151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2 Inhalt + 3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lvl2pPr marL="216000">
              <a:defRPr/>
            </a:lvl2pPr>
          </a:lstStyle>
          <a:p>
            <a:pPr lvl="0"/>
            <a:r>
              <a:rPr lang="de-DE"/>
              <a:t>Mastertextformat bearbeiten</a:t>
            </a:r>
          </a:p>
        </p:txBody>
      </p:sp>
      <p:sp>
        <p:nvSpPr>
          <p:cNvPr id="12" name="Bildplatzhalter 11">
            <a:extLst>
              <a:ext uri="{FF2B5EF4-FFF2-40B4-BE49-F238E27FC236}">
                <a16:creationId xmlns:a16="http://schemas.microsoft.com/office/drawing/2014/main" id="{F832642F-B323-49EE-872A-3130F834200B}"/>
              </a:ext>
            </a:extLst>
          </p:cNvPr>
          <p:cNvSpPr>
            <a:spLocks noGrp="1"/>
          </p:cNvSpPr>
          <p:nvPr>
            <p:ph type="pic" sz="quarter" idx="16"/>
          </p:nvPr>
        </p:nvSpPr>
        <p:spPr>
          <a:xfrm>
            <a:off x="6277801" y="1674000"/>
            <a:ext cx="2507101"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8" name="Bildplatzhalter 17">
            <a:extLst>
              <a:ext uri="{FF2B5EF4-FFF2-40B4-BE49-F238E27FC236}">
                <a16:creationId xmlns:a16="http://schemas.microsoft.com/office/drawing/2014/main" id="{F465D2CE-6830-4297-983E-F7B43985B9EB}"/>
              </a:ext>
            </a:extLst>
          </p:cNvPr>
          <p:cNvSpPr>
            <a:spLocks noGrp="1"/>
          </p:cNvSpPr>
          <p:nvPr>
            <p:ph type="pic" sz="quarter" idx="18"/>
          </p:nvPr>
        </p:nvSpPr>
        <p:spPr>
          <a:xfrm>
            <a:off x="6277800" y="4086000"/>
            <a:ext cx="5194800" cy="2232000"/>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accent3"/>
          </a:solidFill>
        </p:spPr>
        <p:txBody>
          <a:bodyPr wrap="square">
            <a:noAutofit/>
          </a:bodyPr>
          <a:lstStyle/>
          <a:p>
            <a:r>
              <a:rPr lang="de-DE"/>
              <a:t>Bild durch Klicken auf Symbol hinzufügen</a:t>
            </a:r>
          </a:p>
        </p:txBody>
      </p:sp>
      <p:sp>
        <p:nvSpPr>
          <p:cNvPr id="5" name="Fußzeilenplatzhalter 4">
            <a:extLst>
              <a:ext uri="{FF2B5EF4-FFF2-40B4-BE49-F238E27FC236}">
                <a16:creationId xmlns:a16="http://schemas.microsoft.com/office/drawing/2014/main" id="{05C46EB0-769F-4170-83B7-93D805106DFD}"/>
              </a:ext>
            </a:extLst>
          </p:cNvPr>
          <p:cNvSpPr>
            <a:spLocks noGrp="1"/>
          </p:cNvSpPr>
          <p:nvPr>
            <p:ph type="ftr" sz="quarter" idx="20"/>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D706C54-FF6D-4951-8C8B-40E294A9C466}"/>
              </a:ext>
            </a:extLst>
          </p:cNvPr>
          <p:cNvSpPr>
            <a:spLocks noGrp="1"/>
          </p:cNvSpPr>
          <p:nvPr>
            <p:ph type="sldNum" sz="quarter" idx="21"/>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7DCF9F49-EFAD-4ACD-99F6-79A884BC2C0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Bildplatzhalter 11">
            <a:extLst>
              <a:ext uri="{FF2B5EF4-FFF2-40B4-BE49-F238E27FC236}">
                <a16:creationId xmlns:a16="http://schemas.microsoft.com/office/drawing/2014/main" id="{903F8E2B-6617-4DB7-991D-50B6D595961B}"/>
              </a:ext>
            </a:extLst>
          </p:cNvPr>
          <p:cNvSpPr>
            <a:spLocks noGrp="1"/>
          </p:cNvSpPr>
          <p:nvPr>
            <p:ph type="pic" sz="quarter" idx="22"/>
          </p:nvPr>
        </p:nvSpPr>
        <p:spPr>
          <a:xfrm>
            <a:off x="8964902" y="1674000"/>
            <a:ext cx="2507101" cy="2232000"/>
          </a:xfrm>
          <a:solidFill>
            <a:schemeClr val="accent3"/>
          </a:solidFill>
        </p:spPr>
        <p:txBody>
          <a:bodyPr/>
          <a:lstStyle/>
          <a:p>
            <a:r>
              <a:rPr lang="de-DE"/>
              <a:t>Bild durch Klicken auf Symbol hinzufügen</a:t>
            </a:r>
          </a:p>
        </p:txBody>
      </p:sp>
      <p:sp>
        <p:nvSpPr>
          <p:cNvPr id="13" name="Datumsplatzhalter 3">
            <a:extLst>
              <a:ext uri="{FF2B5EF4-FFF2-40B4-BE49-F238E27FC236}">
                <a16:creationId xmlns:a16="http://schemas.microsoft.com/office/drawing/2014/main" id="{8E2E7419-48D5-4947-A6A7-F6CB3B4EF86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6859012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2 Inhalt + 2 Bilder + Infobox ho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2" name="Bildplatzhalter 11">
            <a:extLst>
              <a:ext uri="{FF2B5EF4-FFF2-40B4-BE49-F238E27FC236}">
                <a16:creationId xmlns:a16="http://schemas.microsoft.com/office/drawing/2014/main" id="{0E52A4B2-180F-4635-9822-27508ECE4CE1}"/>
              </a:ext>
            </a:extLst>
          </p:cNvPr>
          <p:cNvSpPr>
            <a:spLocks noGrp="1"/>
          </p:cNvSpPr>
          <p:nvPr>
            <p:ph type="pic" sz="quarter" idx="16"/>
          </p:nvPr>
        </p:nvSpPr>
        <p:spPr>
          <a:xfrm>
            <a:off x="6277800" y="1674000"/>
            <a:ext cx="2507400"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1" name="Textplatzhalter 20">
            <a:extLst>
              <a:ext uri="{FF2B5EF4-FFF2-40B4-BE49-F238E27FC236}">
                <a16:creationId xmlns:a16="http://schemas.microsoft.com/office/drawing/2014/main" id="{6113E644-52D1-4A9A-821D-0ECCD9B110F5}"/>
              </a:ext>
            </a:extLst>
          </p:cNvPr>
          <p:cNvSpPr>
            <a:spLocks noGrp="1"/>
          </p:cNvSpPr>
          <p:nvPr>
            <p:ph type="body" sz="quarter" idx="18"/>
          </p:nvPr>
        </p:nvSpPr>
        <p:spPr>
          <a:xfrm>
            <a:off x="8965200" y="1674000"/>
            <a:ext cx="2507400" cy="4644000"/>
          </a:xfrm>
          <a:custGeom>
            <a:avLst/>
            <a:gdLst>
              <a:gd name="connsiteX0" fmla="*/ 0 w 2507400"/>
              <a:gd name="connsiteY0" fmla="*/ 0 h 4644000"/>
              <a:gd name="connsiteX1" fmla="*/ 2507400 w 2507400"/>
              <a:gd name="connsiteY1" fmla="*/ 0 h 4644000"/>
              <a:gd name="connsiteX2" fmla="*/ 2507400 w 2507400"/>
              <a:gd name="connsiteY2" fmla="*/ 4326749 h 4644000"/>
              <a:gd name="connsiteX3" fmla="*/ 1999692 w 2507400"/>
              <a:gd name="connsiteY3" fmla="*/ 4644000 h 4644000"/>
              <a:gd name="connsiteX4" fmla="*/ 0 w 25074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7400" h="4644000">
                <a:moveTo>
                  <a:pt x="0" y="0"/>
                </a:moveTo>
                <a:lnTo>
                  <a:pt x="2507400" y="0"/>
                </a:lnTo>
                <a:lnTo>
                  <a:pt x="2507400" y="4326749"/>
                </a:lnTo>
                <a:lnTo>
                  <a:pt x="1999692" y="4644000"/>
                </a:lnTo>
                <a:lnTo>
                  <a:pt x="0" y="4644000"/>
                </a:lnTo>
                <a:close/>
              </a:path>
            </a:pathLst>
          </a:custGeom>
          <a:solidFill>
            <a:schemeClr val="tx2"/>
          </a:solidFill>
        </p:spPr>
        <p:txBody>
          <a:bodyPr wrap="square" lIns="144000" tIns="144000" rIns="144000" bIns="144000">
            <a:no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13" name="Bildplatzhalter 11">
            <a:extLst>
              <a:ext uri="{FF2B5EF4-FFF2-40B4-BE49-F238E27FC236}">
                <a16:creationId xmlns:a16="http://schemas.microsoft.com/office/drawing/2014/main" id="{EA2C7DF6-8FA2-4912-8FF1-99CC9F4CBE61}"/>
              </a:ext>
            </a:extLst>
          </p:cNvPr>
          <p:cNvSpPr>
            <a:spLocks noGrp="1"/>
          </p:cNvSpPr>
          <p:nvPr>
            <p:ph type="pic" sz="quarter" idx="17"/>
          </p:nvPr>
        </p:nvSpPr>
        <p:spPr>
          <a:xfrm>
            <a:off x="6277800" y="4086000"/>
            <a:ext cx="2507400" cy="2232000"/>
          </a:xfrm>
          <a:solidFill>
            <a:schemeClr val="accent3"/>
          </a:solidFill>
        </p:spPr>
        <p:txBody>
          <a:bodyPr/>
          <a:lstStyle/>
          <a:p>
            <a:r>
              <a:rPr lang="de-DE"/>
              <a:t>Bild durch Klicken auf Symbol hinzufügen</a:t>
            </a:r>
          </a:p>
        </p:txBody>
      </p:sp>
      <p:sp>
        <p:nvSpPr>
          <p:cNvPr id="5" name="Fußzeilenplatzhalter 4">
            <a:extLst>
              <a:ext uri="{FF2B5EF4-FFF2-40B4-BE49-F238E27FC236}">
                <a16:creationId xmlns:a16="http://schemas.microsoft.com/office/drawing/2014/main" id="{903B74A0-6721-4460-9913-76B468D904E0}"/>
              </a:ext>
            </a:extLst>
          </p:cNvPr>
          <p:cNvSpPr>
            <a:spLocks noGrp="1"/>
          </p:cNvSpPr>
          <p:nvPr>
            <p:ph type="ftr" sz="quarter" idx="20"/>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86D6DB4-5088-4985-8544-351706B14157}"/>
              </a:ext>
            </a:extLst>
          </p:cNvPr>
          <p:cNvSpPr>
            <a:spLocks noGrp="1"/>
          </p:cNvSpPr>
          <p:nvPr>
            <p:ph type="sldNum" sz="quarter" idx="21"/>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9EFBBC7C-F6A5-4ED9-9C3D-5FC6ABA55624}"/>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Datumsplatzhalter 3">
            <a:extLst>
              <a:ext uri="{FF2B5EF4-FFF2-40B4-BE49-F238E27FC236}">
                <a16:creationId xmlns:a16="http://schemas.microsoft.com/office/drawing/2014/main" id="{9F4A8596-036D-43B3-9FF0-0BEB32E377EA}"/>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1753247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2 Inhalt + 2 Bilder + Infobox qu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2" name="Bildplatzhalter 11">
            <a:extLst>
              <a:ext uri="{FF2B5EF4-FFF2-40B4-BE49-F238E27FC236}">
                <a16:creationId xmlns:a16="http://schemas.microsoft.com/office/drawing/2014/main" id="{F832642F-B323-49EE-872A-3130F834200B}"/>
              </a:ext>
            </a:extLst>
          </p:cNvPr>
          <p:cNvSpPr>
            <a:spLocks noGrp="1"/>
          </p:cNvSpPr>
          <p:nvPr>
            <p:ph type="pic" sz="quarter" idx="16"/>
          </p:nvPr>
        </p:nvSpPr>
        <p:spPr>
          <a:xfrm>
            <a:off x="6277800" y="1674000"/>
            <a:ext cx="2507400"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6" name="Textplatzhalter 15">
            <a:extLst>
              <a:ext uri="{FF2B5EF4-FFF2-40B4-BE49-F238E27FC236}">
                <a16:creationId xmlns:a16="http://schemas.microsoft.com/office/drawing/2014/main" id="{DBB234F7-230F-4A75-81B8-34F8EDC64F34}"/>
              </a:ext>
            </a:extLst>
          </p:cNvPr>
          <p:cNvSpPr>
            <a:spLocks noGrp="1"/>
          </p:cNvSpPr>
          <p:nvPr>
            <p:ph type="body" sz="quarter" idx="19"/>
          </p:nvPr>
        </p:nvSpPr>
        <p:spPr>
          <a:xfrm>
            <a:off x="6277800" y="4086000"/>
            <a:ext cx="5194800" cy="2232000"/>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tx2"/>
          </a:solidFill>
        </p:spPr>
        <p:txBody>
          <a:bodyPr wrap="square" lIns="144000" tIns="144000" rIns="144000" bIns="144000">
            <a:no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13" name="Bildplatzhalter 11">
            <a:extLst>
              <a:ext uri="{FF2B5EF4-FFF2-40B4-BE49-F238E27FC236}">
                <a16:creationId xmlns:a16="http://schemas.microsoft.com/office/drawing/2014/main" id="{9C55D38B-F3F0-43B2-B18E-7740F748B16D}"/>
              </a:ext>
            </a:extLst>
          </p:cNvPr>
          <p:cNvSpPr>
            <a:spLocks noGrp="1"/>
          </p:cNvSpPr>
          <p:nvPr>
            <p:ph type="pic" sz="quarter" idx="17"/>
          </p:nvPr>
        </p:nvSpPr>
        <p:spPr>
          <a:xfrm>
            <a:off x="8965200" y="1674000"/>
            <a:ext cx="2507400" cy="2232000"/>
          </a:xfrm>
          <a:solidFill>
            <a:schemeClr val="accent3"/>
          </a:solidFill>
        </p:spPr>
        <p:txBody>
          <a:bodyPr/>
          <a:lstStyle/>
          <a:p>
            <a:r>
              <a:rPr lang="de-DE"/>
              <a:t>Bild durch Klicken auf Symbol hinzufügen</a:t>
            </a:r>
          </a:p>
        </p:txBody>
      </p:sp>
      <p:sp>
        <p:nvSpPr>
          <p:cNvPr id="5" name="Fußzeilenplatzhalter 4">
            <a:extLst>
              <a:ext uri="{FF2B5EF4-FFF2-40B4-BE49-F238E27FC236}">
                <a16:creationId xmlns:a16="http://schemas.microsoft.com/office/drawing/2014/main" id="{1AC9CED4-1736-4B5F-9946-F16664B3DBCE}"/>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743DCAA-570D-4D10-B77D-08C69D75AE98}"/>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2A81D4EE-867E-46FB-9F0B-6CF938274F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Datumsplatzhalter 3">
            <a:extLst>
              <a:ext uri="{FF2B5EF4-FFF2-40B4-BE49-F238E27FC236}">
                <a16:creationId xmlns:a16="http://schemas.microsoft.com/office/drawing/2014/main" id="{6F998A90-F314-400B-807B-20A42C4003D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3643550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oßes Bild mit Infobox">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CA494D4-39E8-435A-920E-A5A5EB6D3C37}"/>
              </a:ext>
            </a:extLst>
          </p:cNvPr>
          <p:cNvSpPr>
            <a:spLocks noGrp="1"/>
          </p:cNvSpPr>
          <p:nvPr>
            <p:ph type="pic" sz="quarter" idx="13"/>
          </p:nvPr>
        </p:nvSpPr>
        <p:spPr>
          <a:xfrm>
            <a:off x="718801" y="1673999"/>
            <a:ext cx="10753199" cy="4642571"/>
          </a:xfrm>
          <a:custGeom>
            <a:avLst/>
            <a:gdLst>
              <a:gd name="connsiteX0" fmla="*/ 0 w 10753199"/>
              <a:gd name="connsiteY0" fmla="*/ 0 h 4642571"/>
              <a:gd name="connsiteX1" fmla="*/ 10753199 w 10753199"/>
              <a:gd name="connsiteY1" fmla="*/ 0 h 4642571"/>
              <a:gd name="connsiteX2" fmla="*/ 10753199 w 10753199"/>
              <a:gd name="connsiteY2" fmla="*/ 4327125 h 4642571"/>
              <a:gd name="connsiteX3" fmla="*/ 10248379 w 10753199"/>
              <a:gd name="connsiteY3" fmla="*/ 4642571 h 4642571"/>
              <a:gd name="connsiteX4" fmla="*/ 0 w 10753199"/>
              <a:gd name="connsiteY4" fmla="*/ 4642571 h 4642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3199" h="4642571">
                <a:moveTo>
                  <a:pt x="0" y="0"/>
                </a:moveTo>
                <a:lnTo>
                  <a:pt x="10753199" y="0"/>
                </a:lnTo>
                <a:lnTo>
                  <a:pt x="10753199" y="4327125"/>
                </a:lnTo>
                <a:lnTo>
                  <a:pt x="10248379" y="4642571"/>
                </a:lnTo>
                <a:lnTo>
                  <a:pt x="0" y="4642571"/>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D8FAAB83-8DD6-4586-90E7-468060138B02}"/>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A24233DD-E13C-4881-9F8D-7B2F6ECE993D}"/>
              </a:ext>
            </a:extLst>
          </p:cNvPr>
          <p:cNvSpPr>
            <a:spLocks noGrp="1"/>
          </p:cNvSpPr>
          <p:nvPr>
            <p:ph type="ftr" sz="quarter" idx="15"/>
          </p:nvPr>
        </p:nvSpPr>
        <p:spPr/>
        <p:txBody>
          <a:bodyPr/>
          <a:lstStyle/>
          <a:p>
            <a:r>
              <a:rPr lang="de-DE" dirty="0"/>
              <a:t>|    Fußzeile Universität Augsburg</a:t>
            </a:r>
          </a:p>
        </p:txBody>
      </p:sp>
      <p:sp>
        <p:nvSpPr>
          <p:cNvPr id="6" name="Foliennummernplatzhalter 5">
            <a:extLst>
              <a:ext uri="{FF2B5EF4-FFF2-40B4-BE49-F238E27FC236}">
                <a16:creationId xmlns:a16="http://schemas.microsoft.com/office/drawing/2014/main" id="{9DC58736-60F0-446B-85EE-E8E3E9B87A35}"/>
              </a:ext>
            </a:extLst>
          </p:cNvPr>
          <p:cNvSpPr>
            <a:spLocks noGrp="1"/>
          </p:cNvSpPr>
          <p:nvPr>
            <p:ph type="sldNum" sz="quarter" idx="16"/>
          </p:nvPr>
        </p:nvSpPr>
        <p:spPr/>
        <p:txBody>
          <a:bodyPr/>
          <a:lstStyle/>
          <a:p>
            <a:fld id="{6567D7EC-8799-48C5-898A-08E264972062}" type="slidenum">
              <a:rPr lang="de-DE" smtClean="0"/>
              <a:pPr/>
              <a:t>‹Nr.›</a:t>
            </a:fld>
            <a:endParaRPr lang="de-DE" dirty="0"/>
          </a:p>
        </p:txBody>
      </p:sp>
      <p:sp>
        <p:nvSpPr>
          <p:cNvPr id="10" name="Textplatzhalter 9">
            <a:extLst>
              <a:ext uri="{FF2B5EF4-FFF2-40B4-BE49-F238E27FC236}">
                <a16:creationId xmlns:a16="http://schemas.microsoft.com/office/drawing/2014/main" id="{74F5D212-7704-477C-BD10-3A07384061D3}"/>
              </a:ext>
            </a:extLst>
          </p:cNvPr>
          <p:cNvSpPr>
            <a:spLocks noGrp="1"/>
          </p:cNvSpPr>
          <p:nvPr>
            <p:ph type="body" sz="quarter" idx="18"/>
          </p:nvPr>
        </p:nvSpPr>
        <p:spPr>
          <a:xfrm>
            <a:off x="7995554" y="1673999"/>
            <a:ext cx="2760453" cy="3312069"/>
          </a:xfrm>
          <a:solidFill>
            <a:schemeClr val="tx2">
              <a:alpha val="90000"/>
            </a:schemeClr>
          </a:solidFill>
        </p:spPr>
        <p:txBody>
          <a:bodyPr lIns="144000" tIns="144000" rIns="144000" bIns="144000"/>
          <a:lstStyle>
            <a:lvl1pPr>
              <a:defRPr sz="1400">
                <a:solidFill>
                  <a:schemeClr val="bg1"/>
                </a:solidFill>
              </a:defRPr>
            </a:lvl1pPr>
            <a:lvl2pPr marL="180000" indent="-180000">
              <a:spcBef>
                <a:spcPts val="600"/>
              </a:spcBef>
              <a:buClr>
                <a:schemeClr val="bg1"/>
              </a:buClr>
              <a:defRPr sz="1400">
                <a:solidFill>
                  <a:schemeClr val="bg1"/>
                </a:solidFill>
              </a:defRPr>
            </a:lvl2pPr>
            <a:lvl3pPr marL="0" indent="0">
              <a:spcBef>
                <a:spcPts val="600"/>
              </a:spcBef>
              <a:buClr>
                <a:schemeClr val="bg1"/>
              </a:buClr>
              <a:buNone/>
              <a:defRPr sz="1000">
                <a:solidFill>
                  <a:schemeClr val="bg1"/>
                </a:solidFill>
              </a:defRPr>
            </a:lvl3pPr>
            <a:lvl4pPr>
              <a:defRPr sz="1400">
                <a:solidFill>
                  <a:schemeClr val="bg1"/>
                </a:solidFill>
              </a:defRPr>
            </a:lvl4pPr>
            <a:lvl5pPr>
              <a:defRPr sz="1400">
                <a:solidFill>
                  <a:schemeClr val="bg1"/>
                </a:solidFill>
              </a:defRPr>
            </a:lvl5pPr>
          </a:lstStyle>
          <a:p>
            <a:pPr lvl="0"/>
            <a:r>
              <a:rPr lang="de-DE"/>
              <a:t>Mastertextformat bearbeiten</a:t>
            </a:r>
          </a:p>
        </p:txBody>
      </p:sp>
      <p:sp>
        <p:nvSpPr>
          <p:cNvPr id="11" name="Untertitel 2">
            <a:extLst>
              <a:ext uri="{FF2B5EF4-FFF2-40B4-BE49-F238E27FC236}">
                <a16:creationId xmlns:a16="http://schemas.microsoft.com/office/drawing/2014/main" id="{1FA84C09-E8D0-422A-8A0E-45EB49C1D259}"/>
              </a:ext>
            </a:extLst>
          </p:cNvPr>
          <p:cNvSpPr>
            <a:spLocks noGrp="1"/>
          </p:cNvSpPr>
          <p:nvPr>
            <p:ph type="subTitle" idx="19"/>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9" name="Gerader Verbinder 8">
            <a:extLst>
              <a:ext uri="{FF2B5EF4-FFF2-40B4-BE49-F238E27FC236}">
                <a16:creationId xmlns:a16="http://schemas.microsoft.com/office/drawing/2014/main" id="{B3FDBBD4-A883-4636-B808-7CFF5AFDF03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2B82A7DA-D6B0-4C5B-A806-FDB775B01AF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6428464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_Dual Vortrag">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95FA92F1-0E1F-49C5-80C9-3365CCE3A9E8}"/>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2500"/>
          <a:stretch/>
        </p:blipFill>
        <p:spPr>
          <a:xfrm>
            <a:off x="0" y="0"/>
            <a:ext cx="12192000" cy="6858000"/>
          </a:xfrm>
          <a:prstGeom prst="rect">
            <a:avLst/>
          </a:prstGeom>
        </p:spPr>
      </p:pic>
      <p:sp>
        <p:nvSpPr>
          <p:cNvPr id="6" name="Rechteck 5">
            <a:extLst>
              <a:ext uri="{FF2B5EF4-FFF2-40B4-BE49-F238E27FC236}">
                <a16:creationId xmlns:a16="http://schemas.microsoft.com/office/drawing/2014/main" id="{1E23F841-7E91-4E34-A0EC-B12AEE41B4E9}"/>
              </a:ext>
            </a:extLst>
          </p:cNvPr>
          <p:cNvSpPr/>
          <p:nvPr userDrawn="1"/>
        </p:nvSpPr>
        <p:spPr>
          <a:xfrm>
            <a:off x="1" y="1"/>
            <a:ext cx="12192000" cy="6858000"/>
          </a:xfrm>
          <a:prstGeom prst="rect">
            <a:avLst/>
          </a:prstGeom>
          <a:gradFill flip="none" rotWithShape="1">
            <a:gsLst>
              <a:gs pos="52000">
                <a:schemeClr val="bg1">
                  <a:alpha val="40000"/>
                </a:schemeClr>
              </a:gs>
              <a:gs pos="0">
                <a:schemeClr val="bg1">
                  <a:alpha val="50000"/>
                </a:schemeClr>
              </a:gs>
              <a:gs pos="7000">
                <a:srgbClr val="FFFFFF">
                  <a:alpha val="0"/>
                </a:srgbClr>
              </a:gs>
              <a:gs pos="100000">
                <a:schemeClr val="bg1">
                  <a:alpha val="7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1"/>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Inhaltsplatzhalter 3">
            <a:extLst>
              <a:ext uri="{FF2B5EF4-FFF2-40B4-BE49-F238E27FC236}">
                <a16:creationId xmlns:a16="http://schemas.microsoft.com/office/drawing/2014/main" id="{E17BF557-8C51-49A6-9373-E0E39B4EF9B9}"/>
              </a:ext>
            </a:extLst>
          </p:cNvPr>
          <p:cNvSpPr>
            <a:spLocks noGrp="1"/>
          </p:cNvSpPr>
          <p:nvPr>
            <p:ph sz="quarter" idx="12" hasCustomPrompt="1"/>
          </p:nvPr>
        </p:nvSpPr>
        <p:spPr>
          <a:xfrm>
            <a:off x="9255967" y="592157"/>
            <a:ext cx="1846250" cy="574170"/>
          </a:xfrm>
        </p:spPr>
        <p:txBody>
          <a:bodyPr/>
          <a:lstStyle>
            <a:lvl1pPr>
              <a:defRPr sz="1200">
                <a:solidFill>
                  <a:schemeClr val="bg1"/>
                </a:solidFill>
              </a:defRPr>
            </a:lvl1pPr>
          </a:lstStyle>
          <a:p>
            <a:pPr lvl="0"/>
            <a:r>
              <a:rPr lang="de-DE" dirty="0"/>
              <a:t>Partneruni-Logo</a:t>
            </a:r>
          </a:p>
        </p:txBody>
      </p:sp>
    </p:spTree>
    <p:extLst>
      <p:ext uri="{BB962C8B-B14F-4D97-AF65-F5344CB8AC3E}">
        <p14:creationId xmlns:p14="http://schemas.microsoft.com/office/powerpoint/2010/main" val="38575142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oßes Bild">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CA494D4-39E8-435A-920E-A5A5EB6D3C37}"/>
              </a:ext>
            </a:extLst>
          </p:cNvPr>
          <p:cNvSpPr>
            <a:spLocks noGrp="1"/>
          </p:cNvSpPr>
          <p:nvPr>
            <p:ph type="pic" sz="quarter" idx="13"/>
          </p:nvPr>
        </p:nvSpPr>
        <p:spPr>
          <a:xfrm>
            <a:off x="718801" y="1673999"/>
            <a:ext cx="10753199" cy="4642571"/>
          </a:xfrm>
          <a:custGeom>
            <a:avLst/>
            <a:gdLst>
              <a:gd name="connsiteX0" fmla="*/ 0 w 10753199"/>
              <a:gd name="connsiteY0" fmla="*/ 0 h 4642571"/>
              <a:gd name="connsiteX1" fmla="*/ 10753199 w 10753199"/>
              <a:gd name="connsiteY1" fmla="*/ 0 h 4642571"/>
              <a:gd name="connsiteX2" fmla="*/ 10753199 w 10753199"/>
              <a:gd name="connsiteY2" fmla="*/ 4327125 h 4642571"/>
              <a:gd name="connsiteX3" fmla="*/ 10248379 w 10753199"/>
              <a:gd name="connsiteY3" fmla="*/ 4642571 h 4642571"/>
              <a:gd name="connsiteX4" fmla="*/ 0 w 10753199"/>
              <a:gd name="connsiteY4" fmla="*/ 4642571 h 4642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3199" h="4642571">
                <a:moveTo>
                  <a:pt x="0" y="0"/>
                </a:moveTo>
                <a:lnTo>
                  <a:pt x="10753199" y="0"/>
                </a:lnTo>
                <a:lnTo>
                  <a:pt x="10753199" y="4327125"/>
                </a:lnTo>
                <a:lnTo>
                  <a:pt x="10248379" y="4642571"/>
                </a:lnTo>
                <a:lnTo>
                  <a:pt x="0" y="4642571"/>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D8FAAB83-8DD6-4586-90E7-468060138B02}"/>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A24233DD-E13C-4881-9F8D-7B2F6ECE993D}"/>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9DC58736-60F0-446B-85EE-E8E3E9B87A35}"/>
              </a:ext>
            </a:extLst>
          </p:cNvPr>
          <p:cNvSpPr>
            <a:spLocks noGrp="1"/>
          </p:cNvSpPr>
          <p:nvPr>
            <p:ph type="sldNum" sz="quarter" idx="16"/>
          </p:nvPr>
        </p:nvSpPr>
        <p:spPr/>
        <p:txBody>
          <a:bodyPr/>
          <a:lstStyle/>
          <a:p>
            <a:fld id="{6567D7EC-8799-48C5-898A-08E264972062}" type="slidenum">
              <a:rPr lang="de-DE" smtClean="0"/>
              <a:pPr/>
              <a:t>‹Nr.›</a:t>
            </a:fld>
            <a:endParaRPr lang="de-DE" dirty="0"/>
          </a:p>
        </p:txBody>
      </p:sp>
      <p:sp>
        <p:nvSpPr>
          <p:cNvPr id="10" name="Untertitel 2">
            <a:extLst>
              <a:ext uri="{FF2B5EF4-FFF2-40B4-BE49-F238E27FC236}">
                <a16:creationId xmlns:a16="http://schemas.microsoft.com/office/drawing/2014/main" id="{58D452D6-202E-455D-8B61-543261859A4B}"/>
              </a:ext>
            </a:extLst>
          </p:cNvPr>
          <p:cNvSpPr>
            <a:spLocks noGrp="1"/>
          </p:cNvSpPr>
          <p:nvPr>
            <p:ph type="subTitle" idx="17"/>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BD26D293-9DBC-44A3-B743-50F9610A78E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atumsplatzhalter 3">
            <a:extLst>
              <a:ext uri="{FF2B5EF4-FFF2-40B4-BE49-F238E27FC236}">
                <a16:creationId xmlns:a16="http://schemas.microsoft.com/office/drawing/2014/main" id="{27E79BCA-C599-4FED-8F50-7EABA9F2559C}"/>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6607577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 Bilder und 1 Infobox">
    <p:spTree>
      <p:nvGrpSpPr>
        <p:cNvPr id="1" name=""/>
        <p:cNvGrpSpPr/>
        <p:nvPr/>
      </p:nvGrpSpPr>
      <p:grpSpPr>
        <a:xfrm>
          <a:off x="0" y="0"/>
          <a:ext cx="0" cy="0"/>
          <a:chOff x="0" y="0"/>
          <a:chExt cx="0" cy="0"/>
        </a:xfrm>
      </p:grpSpPr>
      <p:sp>
        <p:nvSpPr>
          <p:cNvPr id="12" name="Bildplatzhalter 11">
            <a:extLst>
              <a:ext uri="{FF2B5EF4-FFF2-40B4-BE49-F238E27FC236}">
                <a16:creationId xmlns:a16="http://schemas.microsoft.com/office/drawing/2014/main" id="{82923280-06D4-4B6C-8212-53AA23678917}"/>
              </a:ext>
            </a:extLst>
          </p:cNvPr>
          <p:cNvSpPr>
            <a:spLocks noGrp="1"/>
          </p:cNvSpPr>
          <p:nvPr>
            <p:ph type="pic" sz="quarter" idx="10"/>
          </p:nvPr>
        </p:nvSpPr>
        <p:spPr>
          <a:xfrm>
            <a:off x="719999" y="1673999"/>
            <a:ext cx="25529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4" name="Bildplatzhalter 11">
            <a:extLst>
              <a:ext uri="{FF2B5EF4-FFF2-40B4-BE49-F238E27FC236}">
                <a16:creationId xmlns:a16="http://schemas.microsoft.com/office/drawing/2014/main" id="{6816FC29-1284-4663-9755-B91A8684580E}"/>
              </a:ext>
            </a:extLst>
          </p:cNvPr>
          <p:cNvSpPr>
            <a:spLocks noGrp="1"/>
          </p:cNvSpPr>
          <p:nvPr>
            <p:ph type="pic" sz="quarter" idx="12"/>
          </p:nvPr>
        </p:nvSpPr>
        <p:spPr>
          <a:xfrm>
            <a:off x="6186000" y="1673999"/>
            <a:ext cx="5286000" cy="2231289"/>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7" name="Bildplatzhalter 11">
            <a:extLst>
              <a:ext uri="{FF2B5EF4-FFF2-40B4-BE49-F238E27FC236}">
                <a16:creationId xmlns:a16="http://schemas.microsoft.com/office/drawing/2014/main" id="{BF2352AF-07ED-4DD6-AD34-CD15BCEF631D}"/>
              </a:ext>
            </a:extLst>
          </p:cNvPr>
          <p:cNvSpPr>
            <a:spLocks noGrp="1"/>
          </p:cNvSpPr>
          <p:nvPr>
            <p:ph type="pic" sz="quarter" idx="15"/>
          </p:nvPr>
        </p:nvSpPr>
        <p:spPr>
          <a:xfrm>
            <a:off x="3453000" y="1673999"/>
            <a:ext cx="25529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5" name="Bildplatzhalter 11">
            <a:extLst>
              <a:ext uri="{FF2B5EF4-FFF2-40B4-BE49-F238E27FC236}">
                <a16:creationId xmlns:a16="http://schemas.microsoft.com/office/drawing/2014/main" id="{88937A17-6BFE-4447-9A70-9A793250256E}"/>
              </a:ext>
            </a:extLst>
          </p:cNvPr>
          <p:cNvSpPr>
            <a:spLocks noGrp="1"/>
          </p:cNvSpPr>
          <p:nvPr>
            <p:ph type="pic" sz="quarter" idx="13"/>
          </p:nvPr>
        </p:nvSpPr>
        <p:spPr>
          <a:xfrm>
            <a:off x="719999" y="4085290"/>
            <a:ext cx="39194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6" name="Bildplatzhalter 11">
            <a:extLst>
              <a:ext uri="{FF2B5EF4-FFF2-40B4-BE49-F238E27FC236}">
                <a16:creationId xmlns:a16="http://schemas.microsoft.com/office/drawing/2014/main" id="{1C03AA34-9E4A-4CE3-AC7C-F75EA79E7C3E}"/>
              </a:ext>
            </a:extLst>
          </p:cNvPr>
          <p:cNvSpPr>
            <a:spLocks noGrp="1"/>
          </p:cNvSpPr>
          <p:nvPr>
            <p:ph type="pic" sz="quarter" idx="14"/>
          </p:nvPr>
        </p:nvSpPr>
        <p:spPr>
          <a:xfrm>
            <a:off x="4819499" y="4085291"/>
            <a:ext cx="39194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0" name="Textplatzhalter 9">
            <a:extLst>
              <a:ext uri="{FF2B5EF4-FFF2-40B4-BE49-F238E27FC236}">
                <a16:creationId xmlns:a16="http://schemas.microsoft.com/office/drawing/2014/main" id="{6C2F2BAE-909F-472D-BE4F-96A79DA05ABA}"/>
              </a:ext>
            </a:extLst>
          </p:cNvPr>
          <p:cNvSpPr>
            <a:spLocks noGrp="1"/>
          </p:cNvSpPr>
          <p:nvPr>
            <p:ph type="body" sz="quarter" idx="16"/>
          </p:nvPr>
        </p:nvSpPr>
        <p:spPr>
          <a:xfrm>
            <a:off x="8919000" y="4085291"/>
            <a:ext cx="2552999" cy="2231291"/>
          </a:xfrm>
          <a:custGeom>
            <a:avLst/>
            <a:gdLst>
              <a:gd name="connsiteX0" fmla="*/ 0 w 2552999"/>
              <a:gd name="connsiteY0" fmla="*/ 0 h 2231291"/>
              <a:gd name="connsiteX1" fmla="*/ 2552999 w 2552999"/>
              <a:gd name="connsiteY1" fmla="*/ 0 h 2231291"/>
              <a:gd name="connsiteX2" fmla="*/ 2552999 w 2552999"/>
              <a:gd name="connsiteY2" fmla="*/ 1915834 h 2231291"/>
              <a:gd name="connsiteX3" fmla="*/ 2048161 w 2552999"/>
              <a:gd name="connsiteY3" fmla="*/ 2231291 h 2231291"/>
              <a:gd name="connsiteX4" fmla="*/ 0 w 2552999"/>
              <a:gd name="connsiteY4" fmla="*/ 2231291 h 2231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2999" h="2231291">
                <a:moveTo>
                  <a:pt x="0" y="0"/>
                </a:moveTo>
                <a:lnTo>
                  <a:pt x="2552999" y="0"/>
                </a:lnTo>
                <a:lnTo>
                  <a:pt x="2552999" y="1915834"/>
                </a:lnTo>
                <a:lnTo>
                  <a:pt x="2048161" y="2231291"/>
                </a:lnTo>
                <a:lnTo>
                  <a:pt x="0" y="2231291"/>
                </a:lnTo>
                <a:close/>
              </a:path>
            </a:pathLst>
          </a:custGeom>
          <a:solidFill>
            <a:schemeClr val="tx2"/>
          </a:solidFill>
        </p:spPr>
        <p:txBody>
          <a:bodyPr wrap="square" lIns="144000" tIns="144000" rIns="144000" bIns="144000">
            <a:noAutofit/>
          </a:bodyPr>
          <a:lstStyle>
            <a:lvl1pPr marL="0" indent="0">
              <a:spcBef>
                <a:spcPts val="0"/>
              </a:spcBef>
              <a:buNone/>
              <a:defRPr sz="140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a:t>Mastertextformat bearbeiten</a:t>
            </a:r>
          </a:p>
        </p:txBody>
      </p:sp>
      <p:sp>
        <p:nvSpPr>
          <p:cNvPr id="4" name="Titel 3">
            <a:extLst>
              <a:ext uri="{FF2B5EF4-FFF2-40B4-BE49-F238E27FC236}">
                <a16:creationId xmlns:a16="http://schemas.microsoft.com/office/drawing/2014/main" id="{F93ABC32-9FE8-459D-ACCB-102523772369}"/>
              </a:ext>
            </a:extLst>
          </p:cNvPr>
          <p:cNvSpPr>
            <a:spLocks noGrp="1"/>
          </p:cNvSpPr>
          <p:nvPr>
            <p:ph type="title"/>
          </p:nvPr>
        </p:nvSpPr>
        <p:spPr/>
        <p:txBody>
          <a:bodyPr/>
          <a:lstStyle/>
          <a:p>
            <a:r>
              <a:rPr lang="de-DE"/>
              <a:t>Mastertitelformat bearbeiten</a:t>
            </a:r>
          </a:p>
        </p:txBody>
      </p:sp>
      <p:sp>
        <p:nvSpPr>
          <p:cNvPr id="3" name="Fußzeilenplatzhalter 2">
            <a:extLst>
              <a:ext uri="{FF2B5EF4-FFF2-40B4-BE49-F238E27FC236}">
                <a16:creationId xmlns:a16="http://schemas.microsoft.com/office/drawing/2014/main" id="{3DD2D387-3FB6-4B0C-98E8-123EED79A0C1}"/>
              </a:ext>
            </a:extLst>
          </p:cNvPr>
          <p:cNvSpPr>
            <a:spLocks noGrp="1"/>
          </p:cNvSpPr>
          <p:nvPr>
            <p:ph type="ftr" sz="quarter" idx="18"/>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0E2EB323-5D4B-44C9-8093-B68CFD3AF65E}"/>
              </a:ext>
            </a:extLst>
          </p:cNvPr>
          <p:cNvSpPr>
            <a:spLocks noGrp="1"/>
          </p:cNvSpPr>
          <p:nvPr>
            <p:ph type="sldNum" sz="quarter" idx="19"/>
          </p:nvPr>
        </p:nvSpPr>
        <p:spPr/>
        <p:txBody>
          <a:bodyPr/>
          <a:lstStyle/>
          <a:p>
            <a:fld id="{6567D7EC-8799-48C5-898A-08E264972062}" type="slidenum">
              <a:rPr lang="de-DE" smtClean="0"/>
              <a:pPr/>
              <a:t>‹Nr.›</a:t>
            </a:fld>
            <a:endParaRPr lang="de-DE" dirty="0"/>
          </a:p>
        </p:txBody>
      </p:sp>
      <p:sp>
        <p:nvSpPr>
          <p:cNvPr id="18" name="Untertitel 2">
            <a:extLst>
              <a:ext uri="{FF2B5EF4-FFF2-40B4-BE49-F238E27FC236}">
                <a16:creationId xmlns:a16="http://schemas.microsoft.com/office/drawing/2014/main" id="{2F490B95-624C-4C01-B8CF-324AF2796124}"/>
              </a:ext>
            </a:extLst>
          </p:cNvPr>
          <p:cNvSpPr>
            <a:spLocks noGrp="1"/>
          </p:cNvSpPr>
          <p:nvPr>
            <p:ph type="subTitle" idx="20"/>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13" name="Gerader Verbinder 12">
            <a:extLst>
              <a:ext uri="{FF2B5EF4-FFF2-40B4-BE49-F238E27FC236}">
                <a16:creationId xmlns:a16="http://schemas.microsoft.com/office/drawing/2014/main" id="{D1EA23CB-DE6D-4F22-B14C-D08F0E16F2A4}"/>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Datumsplatzhalter 3">
            <a:extLst>
              <a:ext uri="{FF2B5EF4-FFF2-40B4-BE49-F238E27FC236}">
                <a16:creationId xmlns:a16="http://schemas.microsoft.com/office/drawing/2014/main" id="{BC6CF6EE-4C9D-42F3-B2BB-7EBBFBD1823D}"/>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2360834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Texte mit je 1 Bild versetzt">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8D0B7CD6-F947-438A-AF64-88751730D8EB}"/>
              </a:ext>
            </a:extLst>
          </p:cNvPr>
          <p:cNvSpPr>
            <a:spLocks noGrp="1"/>
          </p:cNvSpPr>
          <p:nvPr>
            <p:ph type="body" sz="quarter" idx="21"/>
          </p:nvPr>
        </p:nvSpPr>
        <p:spPr>
          <a:xfrm>
            <a:off x="7199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2" name="Bildplatzhalter 6">
            <a:extLst>
              <a:ext uri="{FF2B5EF4-FFF2-40B4-BE49-F238E27FC236}">
                <a16:creationId xmlns:a16="http://schemas.microsoft.com/office/drawing/2014/main" id="{37603677-00F0-456F-A684-0FCB6F47B8B2}"/>
              </a:ext>
            </a:extLst>
          </p:cNvPr>
          <p:cNvSpPr>
            <a:spLocks noGrp="1"/>
          </p:cNvSpPr>
          <p:nvPr>
            <p:ph type="pic" sz="quarter" idx="14"/>
          </p:nvPr>
        </p:nvSpPr>
        <p:spPr>
          <a:xfrm>
            <a:off x="34532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1" name="Textplatzhalter 18">
            <a:extLst>
              <a:ext uri="{FF2B5EF4-FFF2-40B4-BE49-F238E27FC236}">
                <a16:creationId xmlns:a16="http://schemas.microsoft.com/office/drawing/2014/main" id="{BA13482D-7FD6-46E0-8A6A-548C63908FC5}"/>
              </a:ext>
            </a:extLst>
          </p:cNvPr>
          <p:cNvSpPr>
            <a:spLocks noGrp="1"/>
          </p:cNvSpPr>
          <p:nvPr>
            <p:ph type="body" sz="quarter" idx="23"/>
          </p:nvPr>
        </p:nvSpPr>
        <p:spPr>
          <a:xfrm>
            <a:off x="61865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4" name="Bildplatzhalter 6">
            <a:extLst>
              <a:ext uri="{FF2B5EF4-FFF2-40B4-BE49-F238E27FC236}">
                <a16:creationId xmlns:a16="http://schemas.microsoft.com/office/drawing/2014/main" id="{3C228099-C7FA-4BE1-8248-4821955EF014}"/>
              </a:ext>
            </a:extLst>
          </p:cNvPr>
          <p:cNvSpPr>
            <a:spLocks noGrp="1"/>
          </p:cNvSpPr>
          <p:nvPr>
            <p:ph type="pic" sz="quarter" idx="16"/>
          </p:nvPr>
        </p:nvSpPr>
        <p:spPr>
          <a:xfrm>
            <a:off x="89198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16" name="Bildplatzhalter 6">
            <a:extLst>
              <a:ext uri="{FF2B5EF4-FFF2-40B4-BE49-F238E27FC236}">
                <a16:creationId xmlns:a16="http://schemas.microsoft.com/office/drawing/2014/main" id="{B2BA3FFC-78EE-48EA-AE0C-300F956B989C}"/>
              </a:ext>
            </a:extLst>
          </p:cNvPr>
          <p:cNvSpPr>
            <a:spLocks noGrp="1"/>
          </p:cNvSpPr>
          <p:nvPr>
            <p:ph type="pic" sz="quarter" idx="18"/>
          </p:nvPr>
        </p:nvSpPr>
        <p:spPr>
          <a:xfrm>
            <a:off x="7199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0" name="Textplatzhalter 18">
            <a:extLst>
              <a:ext uri="{FF2B5EF4-FFF2-40B4-BE49-F238E27FC236}">
                <a16:creationId xmlns:a16="http://schemas.microsoft.com/office/drawing/2014/main" id="{794CEAF2-9F84-4B99-A8AF-ECE3AB5E576E}"/>
              </a:ext>
            </a:extLst>
          </p:cNvPr>
          <p:cNvSpPr>
            <a:spLocks noGrp="1"/>
          </p:cNvSpPr>
          <p:nvPr>
            <p:ph type="body" sz="quarter" idx="22"/>
          </p:nvPr>
        </p:nvSpPr>
        <p:spPr>
          <a:xfrm>
            <a:off x="34532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8" name="Bildplatzhalter 6">
            <a:extLst>
              <a:ext uri="{FF2B5EF4-FFF2-40B4-BE49-F238E27FC236}">
                <a16:creationId xmlns:a16="http://schemas.microsoft.com/office/drawing/2014/main" id="{7FD20DB8-649F-4F75-BDA2-47C449040CD6}"/>
              </a:ext>
            </a:extLst>
          </p:cNvPr>
          <p:cNvSpPr>
            <a:spLocks noGrp="1"/>
          </p:cNvSpPr>
          <p:nvPr>
            <p:ph type="pic" sz="quarter" idx="20"/>
          </p:nvPr>
        </p:nvSpPr>
        <p:spPr>
          <a:xfrm>
            <a:off x="61865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9" name="Textplatzhalter 28">
            <a:extLst>
              <a:ext uri="{FF2B5EF4-FFF2-40B4-BE49-F238E27FC236}">
                <a16:creationId xmlns:a16="http://schemas.microsoft.com/office/drawing/2014/main" id="{22AE0353-0383-4E9B-84C9-6E8C1C24B104}"/>
              </a:ext>
            </a:extLst>
          </p:cNvPr>
          <p:cNvSpPr>
            <a:spLocks noGrp="1"/>
          </p:cNvSpPr>
          <p:nvPr>
            <p:ph type="body" sz="quarter" idx="24"/>
          </p:nvPr>
        </p:nvSpPr>
        <p:spPr>
          <a:xfrm>
            <a:off x="8919899" y="4086000"/>
            <a:ext cx="2553300" cy="2232000"/>
          </a:xfrm>
          <a:custGeom>
            <a:avLst/>
            <a:gdLst>
              <a:gd name="connsiteX0" fmla="*/ 0 w 2553300"/>
              <a:gd name="connsiteY0" fmla="*/ 0 h 2232000"/>
              <a:gd name="connsiteX1" fmla="*/ 2553300 w 2553300"/>
              <a:gd name="connsiteY1" fmla="*/ 0 h 2232000"/>
              <a:gd name="connsiteX2" fmla="*/ 2553300 w 2553300"/>
              <a:gd name="connsiteY2" fmla="*/ 1914375 h 2232000"/>
              <a:gd name="connsiteX3" fmla="*/ 2044993 w 2553300"/>
              <a:gd name="connsiteY3" fmla="*/ 2232000 h 2232000"/>
              <a:gd name="connsiteX4" fmla="*/ 0 w 25533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3300" h="2232000">
                <a:moveTo>
                  <a:pt x="0" y="0"/>
                </a:moveTo>
                <a:lnTo>
                  <a:pt x="2553300" y="0"/>
                </a:lnTo>
                <a:lnTo>
                  <a:pt x="2553300" y="1914375"/>
                </a:lnTo>
                <a:lnTo>
                  <a:pt x="2044993" y="2232000"/>
                </a:lnTo>
                <a:lnTo>
                  <a:pt x="0" y="2232000"/>
                </a:lnTo>
                <a:close/>
              </a:path>
            </a:pathLst>
          </a:custGeom>
          <a:solidFill>
            <a:schemeClr val="accent3"/>
          </a:solidFill>
        </p:spPr>
        <p:txBody>
          <a:bodyPr wrap="square"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24" name="Textplatzhalter 23">
            <a:extLst>
              <a:ext uri="{FF2B5EF4-FFF2-40B4-BE49-F238E27FC236}">
                <a16:creationId xmlns:a16="http://schemas.microsoft.com/office/drawing/2014/main" id="{9EE9C679-81B2-4C00-9AD0-B24037728D5F}"/>
              </a:ext>
            </a:extLst>
          </p:cNvPr>
          <p:cNvSpPr>
            <a:spLocks noGrp="1"/>
          </p:cNvSpPr>
          <p:nvPr>
            <p:ph type="body" sz="quarter" idx="25" hasCustomPrompt="1"/>
          </p:nvPr>
        </p:nvSpPr>
        <p:spPr>
          <a:xfrm>
            <a:off x="719998"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1</a:t>
            </a:r>
          </a:p>
        </p:txBody>
      </p:sp>
      <p:sp>
        <p:nvSpPr>
          <p:cNvPr id="25" name="Textplatzhalter 23">
            <a:extLst>
              <a:ext uri="{FF2B5EF4-FFF2-40B4-BE49-F238E27FC236}">
                <a16:creationId xmlns:a16="http://schemas.microsoft.com/office/drawing/2014/main" id="{67BFBE5B-6EF5-477E-8B16-D9DDC1B0394C}"/>
              </a:ext>
            </a:extLst>
          </p:cNvPr>
          <p:cNvSpPr>
            <a:spLocks noGrp="1"/>
          </p:cNvSpPr>
          <p:nvPr>
            <p:ph type="body" sz="quarter" idx="26" hasCustomPrompt="1"/>
          </p:nvPr>
        </p:nvSpPr>
        <p:spPr>
          <a:xfrm>
            <a:off x="34532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3</a:t>
            </a:r>
          </a:p>
        </p:txBody>
      </p:sp>
      <p:sp>
        <p:nvSpPr>
          <p:cNvPr id="26" name="Textplatzhalter 23">
            <a:extLst>
              <a:ext uri="{FF2B5EF4-FFF2-40B4-BE49-F238E27FC236}">
                <a16:creationId xmlns:a16="http://schemas.microsoft.com/office/drawing/2014/main" id="{7E03E66F-9B22-44FD-82F9-97EA205FD832}"/>
              </a:ext>
            </a:extLst>
          </p:cNvPr>
          <p:cNvSpPr>
            <a:spLocks noGrp="1"/>
          </p:cNvSpPr>
          <p:nvPr>
            <p:ph type="body" sz="quarter" idx="27" hasCustomPrompt="1"/>
          </p:nvPr>
        </p:nvSpPr>
        <p:spPr>
          <a:xfrm>
            <a:off x="6186599"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2</a:t>
            </a:r>
          </a:p>
        </p:txBody>
      </p:sp>
      <p:sp>
        <p:nvSpPr>
          <p:cNvPr id="27" name="Textplatzhalter 23">
            <a:extLst>
              <a:ext uri="{FF2B5EF4-FFF2-40B4-BE49-F238E27FC236}">
                <a16:creationId xmlns:a16="http://schemas.microsoft.com/office/drawing/2014/main" id="{749543A4-338F-4532-A8F7-3C8053E06517}"/>
              </a:ext>
            </a:extLst>
          </p:cNvPr>
          <p:cNvSpPr>
            <a:spLocks noGrp="1"/>
          </p:cNvSpPr>
          <p:nvPr>
            <p:ph type="body" sz="quarter" idx="28" hasCustomPrompt="1"/>
          </p:nvPr>
        </p:nvSpPr>
        <p:spPr>
          <a:xfrm>
            <a:off x="89198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4</a:t>
            </a:r>
          </a:p>
        </p:txBody>
      </p:sp>
      <p:sp>
        <p:nvSpPr>
          <p:cNvPr id="2" name="Titel 1">
            <a:extLst>
              <a:ext uri="{FF2B5EF4-FFF2-40B4-BE49-F238E27FC236}">
                <a16:creationId xmlns:a16="http://schemas.microsoft.com/office/drawing/2014/main" id="{A44C7506-1301-49C0-9C41-04D95085CCD6}"/>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EAB230BD-CD3E-4D54-BA85-1FA6F5CCC1E4}"/>
              </a:ext>
            </a:extLst>
          </p:cNvPr>
          <p:cNvSpPr>
            <a:spLocks noGrp="1"/>
          </p:cNvSpPr>
          <p:nvPr>
            <p:ph type="ftr" sz="quarter" idx="30"/>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17105B9E-F57E-42DF-A0F2-61A5FEC545CF}"/>
              </a:ext>
            </a:extLst>
          </p:cNvPr>
          <p:cNvSpPr>
            <a:spLocks noGrp="1"/>
          </p:cNvSpPr>
          <p:nvPr>
            <p:ph type="sldNum" sz="quarter" idx="31"/>
          </p:nvPr>
        </p:nvSpPr>
        <p:spPr/>
        <p:txBody>
          <a:bodyPr/>
          <a:lstStyle/>
          <a:p>
            <a:fld id="{6567D7EC-8799-48C5-898A-08E264972062}" type="slidenum">
              <a:rPr lang="de-DE" smtClean="0"/>
              <a:pPr/>
              <a:t>‹Nr.›</a:t>
            </a:fld>
            <a:endParaRPr lang="de-DE" dirty="0"/>
          </a:p>
        </p:txBody>
      </p:sp>
      <p:sp>
        <p:nvSpPr>
          <p:cNvPr id="22" name="Untertitel 2">
            <a:extLst>
              <a:ext uri="{FF2B5EF4-FFF2-40B4-BE49-F238E27FC236}">
                <a16:creationId xmlns:a16="http://schemas.microsoft.com/office/drawing/2014/main" id="{CD1921EF-845A-4B83-94D5-07A0CE8FDCEC}"/>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23" name="Gerader Verbinder 22">
            <a:extLst>
              <a:ext uri="{FF2B5EF4-FFF2-40B4-BE49-F238E27FC236}">
                <a16:creationId xmlns:a16="http://schemas.microsoft.com/office/drawing/2014/main" id="{DCA848E7-92BD-42A2-8DB5-48C272EDDD38}"/>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Datumsplatzhalter 3">
            <a:extLst>
              <a:ext uri="{FF2B5EF4-FFF2-40B4-BE49-F238E27FC236}">
                <a16:creationId xmlns:a16="http://schemas.microsoft.com/office/drawing/2014/main" id="{AA457227-FC8B-464B-8BCA-521705F40EA1}"/>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5886075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Texte mit je 1 Bild">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8D0B7CD6-F947-438A-AF64-88751730D8EB}"/>
              </a:ext>
            </a:extLst>
          </p:cNvPr>
          <p:cNvSpPr>
            <a:spLocks noGrp="1"/>
          </p:cNvSpPr>
          <p:nvPr>
            <p:ph type="body" sz="quarter" idx="21"/>
          </p:nvPr>
        </p:nvSpPr>
        <p:spPr>
          <a:xfrm>
            <a:off x="7199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2" name="Bildplatzhalter 6">
            <a:extLst>
              <a:ext uri="{FF2B5EF4-FFF2-40B4-BE49-F238E27FC236}">
                <a16:creationId xmlns:a16="http://schemas.microsoft.com/office/drawing/2014/main" id="{37603677-00F0-456F-A684-0FCB6F47B8B2}"/>
              </a:ext>
            </a:extLst>
          </p:cNvPr>
          <p:cNvSpPr>
            <a:spLocks noGrp="1"/>
          </p:cNvSpPr>
          <p:nvPr>
            <p:ph type="pic" sz="quarter" idx="14"/>
          </p:nvPr>
        </p:nvSpPr>
        <p:spPr>
          <a:xfrm>
            <a:off x="34532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1" name="Textplatzhalter 18">
            <a:extLst>
              <a:ext uri="{FF2B5EF4-FFF2-40B4-BE49-F238E27FC236}">
                <a16:creationId xmlns:a16="http://schemas.microsoft.com/office/drawing/2014/main" id="{BA13482D-7FD6-46E0-8A6A-548C63908FC5}"/>
              </a:ext>
            </a:extLst>
          </p:cNvPr>
          <p:cNvSpPr>
            <a:spLocks noGrp="1"/>
          </p:cNvSpPr>
          <p:nvPr>
            <p:ph type="body" sz="quarter" idx="23"/>
          </p:nvPr>
        </p:nvSpPr>
        <p:spPr>
          <a:xfrm>
            <a:off x="61865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4" name="Bildplatzhalter 6">
            <a:extLst>
              <a:ext uri="{FF2B5EF4-FFF2-40B4-BE49-F238E27FC236}">
                <a16:creationId xmlns:a16="http://schemas.microsoft.com/office/drawing/2014/main" id="{3C228099-C7FA-4BE1-8248-4821955EF014}"/>
              </a:ext>
            </a:extLst>
          </p:cNvPr>
          <p:cNvSpPr>
            <a:spLocks noGrp="1"/>
          </p:cNvSpPr>
          <p:nvPr>
            <p:ph type="pic" sz="quarter" idx="16"/>
          </p:nvPr>
        </p:nvSpPr>
        <p:spPr>
          <a:xfrm>
            <a:off x="89198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0" name="Textplatzhalter 18">
            <a:extLst>
              <a:ext uri="{FF2B5EF4-FFF2-40B4-BE49-F238E27FC236}">
                <a16:creationId xmlns:a16="http://schemas.microsoft.com/office/drawing/2014/main" id="{794CEAF2-9F84-4B99-A8AF-ECE3AB5E576E}"/>
              </a:ext>
            </a:extLst>
          </p:cNvPr>
          <p:cNvSpPr>
            <a:spLocks noGrp="1"/>
          </p:cNvSpPr>
          <p:nvPr>
            <p:ph type="body" sz="quarter" idx="22"/>
          </p:nvPr>
        </p:nvSpPr>
        <p:spPr>
          <a:xfrm>
            <a:off x="7199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6" name="Bildplatzhalter 6">
            <a:extLst>
              <a:ext uri="{FF2B5EF4-FFF2-40B4-BE49-F238E27FC236}">
                <a16:creationId xmlns:a16="http://schemas.microsoft.com/office/drawing/2014/main" id="{B2BA3FFC-78EE-48EA-AE0C-300F956B989C}"/>
              </a:ext>
            </a:extLst>
          </p:cNvPr>
          <p:cNvSpPr>
            <a:spLocks noGrp="1"/>
          </p:cNvSpPr>
          <p:nvPr>
            <p:ph type="pic" sz="quarter" idx="18"/>
          </p:nvPr>
        </p:nvSpPr>
        <p:spPr>
          <a:xfrm>
            <a:off x="34532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2" name="Textplatzhalter 18">
            <a:extLst>
              <a:ext uri="{FF2B5EF4-FFF2-40B4-BE49-F238E27FC236}">
                <a16:creationId xmlns:a16="http://schemas.microsoft.com/office/drawing/2014/main" id="{FF9C62C6-AB76-491F-A58B-062EF89911A2}"/>
              </a:ext>
            </a:extLst>
          </p:cNvPr>
          <p:cNvSpPr>
            <a:spLocks noGrp="1"/>
          </p:cNvSpPr>
          <p:nvPr>
            <p:ph type="body" sz="quarter" idx="24"/>
          </p:nvPr>
        </p:nvSpPr>
        <p:spPr>
          <a:xfrm>
            <a:off x="61865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29" name="Bildplatzhalter 28">
            <a:extLst>
              <a:ext uri="{FF2B5EF4-FFF2-40B4-BE49-F238E27FC236}">
                <a16:creationId xmlns:a16="http://schemas.microsoft.com/office/drawing/2014/main" id="{40064942-68BC-4E81-8583-6A4580971342}"/>
              </a:ext>
            </a:extLst>
          </p:cNvPr>
          <p:cNvSpPr>
            <a:spLocks noGrp="1"/>
          </p:cNvSpPr>
          <p:nvPr>
            <p:ph type="pic" sz="quarter" idx="20"/>
          </p:nvPr>
        </p:nvSpPr>
        <p:spPr>
          <a:xfrm>
            <a:off x="8919899" y="4085999"/>
            <a:ext cx="2553300" cy="2232000"/>
          </a:xfrm>
          <a:custGeom>
            <a:avLst/>
            <a:gdLst>
              <a:gd name="connsiteX0" fmla="*/ 0 w 2553300"/>
              <a:gd name="connsiteY0" fmla="*/ 0 h 2232000"/>
              <a:gd name="connsiteX1" fmla="*/ 2553300 w 2553300"/>
              <a:gd name="connsiteY1" fmla="*/ 0 h 2232000"/>
              <a:gd name="connsiteX2" fmla="*/ 2553300 w 2553300"/>
              <a:gd name="connsiteY2" fmla="*/ 1914376 h 2232000"/>
              <a:gd name="connsiteX3" fmla="*/ 2044994 w 2553300"/>
              <a:gd name="connsiteY3" fmla="*/ 2232000 h 2232000"/>
              <a:gd name="connsiteX4" fmla="*/ 0 w 25533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3300" h="2232000">
                <a:moveTo>
                  <a:pt x="0" y="0"/>
                </a:moveTo>
                <a:lnTo>
                  <a:pt x="2553300" y="0"/>
                </a:lnTo>
                <a:lnTo>
                  <a:pt x="2553300" y="1914376"/>
                </a:lnTo>
                <a:lnTo>
                  <a:pt x="2044994" y="2232000"/>
                </a:lnTo>
                <a:lnTo>
                  <a:pt x="0" y="2232000"/>
                </a:lnTo>
                <a:close/>
              </a:path>
            </a:pathLst>
          </a:custGeom>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4" name="Textplatzhalter 23">
            <a:extLst>
              <a:ext uri="{FF2B5EF4-FFF2-40B4-BE49-F238E27FC236}">
                <a16:creationId xmlns:a16="http://schemas.microsoft.com/office/drawing/2014/main" id="{9EE9C679-81B2-4C00-9AD0-B24037728D5F}"/>
              </a:ext>
            </a:extLst>
          </p:cNvPr>
          <p:cNvSpPr>
            <a:spLocks noGrp="1"/>
          </p:cNvSpPr>
          <p:nvPr>
            <p:ph type="body" sz="quarter" idx="25" hasCustomPrompt="1"/>
          </p:nvPr>
        </p:nvSpPr>
        <p:spPr>
          <a:xfrm>
            <a:off x="719998"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1</a:t>
            </a:r>
          </a:p>
        </p:txBody>
      </p:sp>
      <p:sp>
        <p:nvSpPr>
          <p:cNvPr id="25" name="Textplatzhalter 23">
            <a:extLst>
              <a:ext uri="{FF2B5EF4-FFF2-40B4-BE49-F238E27FC236}">
                <a16:creationId xmlns:a16="http://schemas.microsoft.com/office/drawing/2014/main" id="{67BFBE5B-6EF5-477E-8B16-D9DDC1B0394C}"/>
              </a:ext>
            </a:extLst>
          </p:cNvPr>
          <p:cNvSpPr>
            <a:spLocks noGrp="1"/>
          </p:cNvSpPr>
          <p:nvPr>
            <p:ph type="body" sz="quarter" idx="26" hasCustomPrompt="1"/>
          </p:nvPr>
        </p:nvSpPr>
        <p:spPr>
          <a:xfrm>
            <a:off x="7199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3</a:t>
            </a:r>
          </a:p>
        </p:txBody>
      </p:sp>
      <p:sp>
        <p:nvSpPr>
          <p:cNvPr id="26" name="Textplatzhalter 23">
            <a:extLst>
              <a:ext uri="{FF2B5EF4-FFF2-40B4-BE49-F238E27FC236}">
                <a16:creationId xmlns:a16="http://schemas.microsoft.com/office/drawing/2014/main" id="{7E03E66F-9B22-44FD-82F9-97EA205FD832}"/>
              </a:ext>
            </a:extLst>
          </p:cNvPr>
          <p:cNvSpPr>
            <a:spLocks noGrp="1"/>
          </p:cNvSpPr>
          <p:nvPr>
            <p:ph type="body" sz="quarter" idx="27" hasCustomPrompt="1"/>
          </p:nvPr>
        </p:nvSpPr>
        <p:spPr>
          <a:xfrm>
            <a:off x="6186599"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2</a:t>
            </a:r>
          </a:p>
        </p:txBody>
      </p:sp>
      <p:sp>
        <p:nvSpPr>
          <p:cNvPr id="27" name="Textplatzhalter 23">
            <a:extLst>
              <a:ext uri="{FF2B5EF4-FFF2-40B4-BE49-F238E27FC236}">
                <a16:creationId xmlns:a16="http://schemas.microsoft.com/office/drawing/2014/main" id="{749543A4-338F-4532-A8F7-3C8053E06517}"/>
              </a:ext>
            </a:extLst>
          </p:cNvPr>
          <p:cNvSpPr>
            <a:spLocks noGrp="1"/>
          </p:cNvSpPr>
          <p:nvPr>
            <p:ph type="body" sz="quarter" idx="28" hasCustomPrompt="1"/>
          </p:nvPr>
        </p:nvSpPr>
        <p:spPr>
          <a:xfrm>
            <a:off x="61865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4</a:t>
            </a:r>
          </a:p>
        </p:txBody>
      </p:sp>
      <p:sp>
        <p:nvSpPr>
          <p:cNvPr id="2" name="Titel 1">
            <a:extLst>
              <a:ext uri="{FF2B5EF4-FFF2-40B4-BE49-F238E27FC236}">
                <a16:creationId xmlns:a16="http://schemas.microsoft.com/office/drawing/2014/main" id="{86214A44-AF01-4C18-A48A-D60FB248BCB1}"/>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2531DBC6-4D2A-496E-902B-EFD874699C5C}"/>
              </a:ext>
            </a:extLst>
          </p:cNvPr>
          <p:cNvSpPr>
            <a:spLocks noGrp="1"/>
          </p:cNvSpPr>
          <p:nvPr>
            <p:ph type="ftr" sz="quarter" idx="30"/>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03EB8BD6-E622-4B45-A236-19BF5A5D1813}"/>
              </a:ext>
            </a:extLst>
          </p:cNvPr>
          <p:cNvSpPr>
            <a:spLocks noGrp="1"/>
          </p:cNvSpPr>
          <p:nvPr>
            <p:ph type="sldNum" sz="quarter" idx="31"/>
          </p:nvPr>
        </p:nvSpPr>
        <p:spPr/>
        <p:txBody>
          <a:bodyPr/>
          <a:lstStyle/>
          <a:p>
            <a:fld id="{6567D7EC-8799-48C5-898A-08E264972062}" type="slidenum">
              <a:rPr lang="de-DE" smtClean="0"/>
              <a:pPr/>
              <a:t>‹Nr.›</a:t>
            </a:fld>
            <a:endParaRPr lang="de-DE" dirty="0"/>
          </a:p>
        </p:txBody>
      </p:sp>
      <p:sp>
        <p:nvSpPr>
          <p:cNvPr id="23" name="Untertitel 2">
            <a:extLst>
              <a:ext uri="{FF2B5EF4-FFF2-40B4-BE49-F238E27FC236}">
                <a16:creationId xmlns:a16="http://schemas.microsoft.com/office/drawing/2014/main" id="{0863C9F9-60AE-4E82-86B7-ECB092C2DC95}"/>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28" name="Gerader Verbinder 27">
            <a:extLst>
              <a:ext uri="{FF2B5EF4-FFF2-40B4-BE49-F238E27FC236}">
                <a16:creationId xmlns:a16="http://schemas.microsoft.com/office/drawing/2014/main" id="{1D178B3D-67C8-474D-B36E-39BB73685217}"/>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Datumsplatzhalter 3">
            <a:extLst>
              <a:ext uri="{FF2B5EF4-FFF2-40B4-BE49-F238E27FC236}">
                <a16:creationId xmlns:a16="http://schemas.microsoft.com/office/drawing/2014/main" id="{76BC353E-73A7-4B50-A60C-5DA864540F84}"/>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40590050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rei Bilder">
    <p:spTree>
      <p:nvGrpSpPr>
        <p:cNvPr id="1" name=""/>
        <p:cNvGrpSpPr/>
        <p:nvPr/>
      </p:nvGrpSpPr>
      <p:grpSpPr>
        <a:xfrm>
          <a:off x="0" y="0"/>
          <a:ext cx="0" cy="0"/>
          <a:chOff x="0" y="0"/>
          <a:chExt cx="0" cy="0"/>
        </a:xfrm>
      </p:grpSpPr>
      <p:sp>
        <p:nvSpPr>
          <p:cNvPr id="28" name="rechts unten Bild">
            <a:extLst>
              <a:ext uri="{FF2B5EF4-FFF2-40B4-BE49-F238E27FC236}">
                <a16:creationId xmlns:a16="http://schemas.microsoft.com/office/drawing/2014/main" id="{CD5FA5D3-D717-492A-A9A5-AAD003D3C553}"/>
              </a:ext>
            </a:extLst>
          </p:cNvPr>
          <p:cNvSpPr>
            <a:spLocks noGrp="1"/>
          </p:cNvSpPr>
          <p:nvPr>
            <p:ph type="pic" sz="quarter" idx="15"/>
          </p:nvPr>
        </p:nvSpPr>
        <p:spPr>
          <a:xfrm>
            <a:off x="5118903" y="2347394"/>
            <a:ext cx="6354297" cy="3970606"/>
          </a:xfrm>
          <a:custGeom>
            <a:avLst/>
            <a:gdLst>
              <a:gd name="connsiteX0" fmla="*/ 6354297 w 6354297"/>
              <a:gd name="connsiteY0" fmla="*/ 0 h 3970606"/>
              <a:gd name="connsiteX1" fmla="*/ 6354297 w 6354297"/>
              <a:gd name="connsiteY1" fmla="*/ 3652981 h 3970606"/>
              <a:gd name="connsiteX2" fmla="*/ 5845990 w 6354297"/>
              <a:gd name="connsiteY2" fmla="*/ 3970606 h 3970606"/>
              <a:gd name="connsiteX3" fmla="*/ 0 w 6354297"/>
              <a:gd name="connsiteY3" fmla="*/ 3970606 h 3970606"/>
            </a:gdLst>
            <a:ahLst/>
            <a:cxnLst>
              <a:cxn ang="0">
                <a:pos x="connsiteX0" y="connsiteY0"/>
              </a:cxn>
              <a:cxn ang="0">
                <a:pos x="connsiteX1" y="connsiteY1"/>
              </a:cxn>
              <a:cxn ang="0">
                <a:pos x="connsiteX2" y="connsiteY2"/>
              </a:cxn>
              <a:cxn ang="0">
                <a:pos x="connsiteX3" y="connsiteY3"/>
              </a:cxn>
            </a:cxnLst>
            <a:rect l="l" t="t" r="r" b="b"/>
            <a:pathLst>
              <a:path w="6354297" h="3970606">
                <a:moveTo>
                  <a:pt x="6354297" y="0"/>
                </a:moveTo>
                <a:lnTo>
                  <a:pt x="6354297" y="3652981"/>
                </a:lnTo>
                <a:lnTo>
                  <a:pt x="5845990" y="3970606"/>
                </a:lnTo>
                <a:lnTo>
                  <a:pt x="0" y="3970606"/>
                </a:lnTo>
                <a:close/>
              </a:path>
            </a:pathLst>
          </a:custGeom>
          <a:solidFill>
            <a:schemeClr val="accent3"/>
          </a:solidFill>
        </p:spPr>
        <p:txBody>
          <a:bodyPr wrap="square" anchor="ctr">
            <a:noAutofit/>
          </a:bodyPr>
          <a:lstStyle>
            <a:lvl1pPr algn="r">
              <a:defRPr sz="1200"/>
            </a:lvl1pPr>
          </a:lstStyle>
          <a:p>
            <a:r>
              <a:rPr lang="de-DE"/>
              <a:t>Bild durch Klicken auf Symbol hinzufügen</a:t>
            </a:r>
          </a:p>
        </p:txBody>
      </p:sp>
      <p:sp>
        <p:nvSpPr>
          <p:cNvPr id="30" name="rechts oben Bild">
            <a:extLst>
              <a:ext uri="{FF2B5EF4-FFF2-40B4-BE49-F238E27FC236}">
                <a16:creationId xmlns:a16="http://schemas.microsoft.com/office/drawing/2014/main" id="{6DFA7518-1C80-4796-BE44-D8184948C52E}"/>
              </a:ext>
            </a:extLst>
          </p:cNvPr>
          <p:cNvSpPr>
            <a:spLocks noGrp="1"/>
          </p:cNvSpPr>
          <p:nvPr>
            <p:ph type="pic" sz="quarter" idx="16"/>
          </p:nvPr>
        </p:nvSpPr>
        <p:spPr>
          <a:xfrm>
            <a:off x="7355202" y="1674000"/>
            <a:ext cx="4117998" cy="2182262"/>
          </a:xfrm>
          <a:custGeom>
            <a:avLst/>
            <a:gdLst>
              <a:gd name="connsiteX0" fmla="*/ 0 w 4117998"/>
              <a:gd name="connsiteY0" fmla="*/ 0 h 2182262"/>
              <a:gd name="connsiteX1" fmla="*/ 4117998 w 4117998"/>
              <a:gd name="connsiteY1" fmla="*/ 0 h 2182262"/>
              <a:gd name="connsiteX2" fmla="*/ 4117998 w 4117998"/>
              <a:gd name="connsiteY2" fmla="*/ 461141 h 2182262"/>
              <a:gd name="connsiteX3" fmla="*/ 1363628 w 4117998"/>
              <a:gd name="connsiteY3" fmla="*/ 2182262 h 2182262"/>
            </a:gdLst>
            <a:ahLst/>
            <a:cxnLst>
              <a:cxn ang="0">
                <a:pos x="connsiteX0" y="connsiteY0"/>
              </a:cxn>
              <a:cxn ang="0">
                <a:pos x="connsiteX1" y="connsiteY1"/>
              </a:cxn>
              <a:cxn ang="0">
                <a:pos x="connsiteX2" y="connsiteY2"/>
              </a:cxn>
              <a:cxn ang="0">
                <a:pos x="connsiteX3" y="connsiteY3"/>
              </a:cxn>
            </a:cxnLst>
            <a:rect l="l" t="t" r="r" b="b"/>
            <a:pathLst>
              <a:path w="4117998" h="2182262">
                <a:moveTo>
                  <a:pt x="0" y="0"/>
                </a:moveTo>
                <a:lnTo>
                  <a:pt x="4117998" y="0"/>
                </a:lnTo>
                <a:lnTo>
                  <a:pt x="4117998" y="461141"/>
                </a:lnTo>
                <a:lnTo>
                  <a:pt x="1363628" y="2182262"/>
                </a:lnTo>
                <a:close/>
              </a:path>
            </a:pathLst>
          </a:custGeom>
          <a:solidFill>
            <a:schemeClr val="accent3"/>
          </a:solidFill>
        </p:spPr>
        <p:txBody>
          <a:bodyPr wrap="square">
            <a:noAutofit/>
          </a:bodyPr>
          <a:lstStyle>
            <a:lvl1pPr algn="ctr">
              <a:defRPr sz="1200"/>
            </a:lvl1pPr>
          </a:lstStyle>
          <a:p>
            <a:r>
              <a:rPr lang="de-DE"/>
              <a:t>Bild durch Klicken auf Symbol hinzufügen</a:t>
            </a:r>
          </a:p>
        </p:txBody>
      </p:sp>
      <p:sp>
        <p:nvSpPr>
          <p:cNvPr id="32" name="links großes Bild">
            <a:extLst>
              <a:ext uri="{FF2B5EF4-FFF2-40B4-BE49-F238E27FC236}">
                <a16:creationId xmlns:a16="http://schemas.microsoft.com/office/drawing/2014/main" id="{3250A4B0-2BD5-4E55-807B-8FC0F34662A8}"/>
              </a:ext>
            </a:extLst>
          </p:cNvPr>
          <p:cNvSpPr>
            <a:spLocks noGrp="1"/>
          </p:cNvSpPr>
          <p:nvPr>
            <p:ph type="pic" sz="quarter" idx="14"/>
          </p:nvPr>
        </p:nvSpPr>
        <p:spPr>
          <a:xfrm>
            <a:off x="720000" y="1674000"/>
            <a:ext cx="7846181" cy="4644000"/>
          </a:xfrm>
          <a:custGeom>
            <a:avLst/>
            <a:gdLst>
              <a:gd name="connsiteX0" fmla="*/ 0 w 7846181"/>
              <a:gd name="connsiteY0" fmla="*/ 0 h 4644000"/>
              <a:gd name="connsiteX1" fmla="*/ 6422949 w 7846181"/>
              <a:gd name="connsiteY1" fmla="*/ 0 h 4644000"/>
              <a:gd name="connsiteX2" fmla="*/ 7846181 w 7846181"/>
              <a:gd name="connsiteY2" fmla="*/ 2277649 h 4644000"/>
              <a:gd name="connsiteX3" fmla="*/ 4059228 w 7846181"/>
              <a:gd name="connsiteY3" fmla="*/ 4644000 h 4644000"/>
              <a:gd name="connsiteX4" fmla="*/ 0 w 7846181"/>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6181" h="4644000">
                <a:moveTo>
                  <a:pt x="0" y="0"/>
                </a:moveTo>
                <a:lnTo>
                  <a:pt x="6422949" y="0"/>
                </a:lnTo>
                <a:lnTo>
                  <a:pt x="7846181" y="2277649"/>
                </a:lnTo>
                <a:lnTo>
                  <a:pt x="4059228" y="4644000"/>
                </a:lnTo>
                <a:lnTo>
                  <a:pt x="0" y="4644000"/>
                </a:lnTo>
                <a:close/>
              </a:path>
            </a:pathLst>
          </a:custGeom>
          <a:solidFill>
            <a:schemeClr val="accent3"/>
          </a:solidFill>
        </p:spPr>
        <p:txBody>
          <a:bodyPr wrap="square">
            <a:noAutofit/>
          </a:bodyPr>
          <a:lstStyle>
            <a:lvl1pPr>
              <a:defRPr sz="1200"/>
            </a:lvl1pPr>
          </a:lstStyle>
          <a:p>
            <a:r>
              <a:rPr lang="de-DE"/>
              <a:t>Bild durch Klicken auf Symbol hinzufüg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4" name="Fußzeilenplatzhalter 3">
            <a:extLst>
              <a:ext uri="{FF2B5EF4-FFF2-40B4-BE49-F238E27FC236}">
                <a16:creationId xmlns:a16="http://schemas.microsoft.com/office/drawing/2014/main" id="{6667E07C-4EF5-43E9-9B7B-40CF109326AE}"/>
              </a:ext>
            </a:extLst>
          </p:cNvPr>
          <p:cNvSpPr>
            <a:spLocks noGrp="1"/>
          </p:cNvSpPr>
          <p:nvPr>
            <p:ph type="ftr" sz="quarter" idx="18"/>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2B583426-CEAE-4105-B68D-3BC46AA14515}"/>
              </a:ext>
            </a:extLst>
          </p:cNvPr>
          <p:cNvSpPr>
            <a:spLocks noGrp="1"/>
          </p:cNvSpPr>
          <p:nvPr>
            <p:ph type="sldNum" sz="quarter" idx="19"/>
          </p:nvPr>
        </p:nvSpPr>
        <p:spPr/>
        <p:txBody>
          <a:bodyPr/>
          <a:lstStyle/>
          <a:p>
            <a:fld id="{6567D7EC-8799-48C5-898A-08E264972062}" type="slidenum">
              <a:rPr lang="de-DE" smtClean="0"/>
              <a:pPr/>
              <a:t>‹Nr.›</a:t>
            </a:fld>
            <a:endParaRPr lang="de-DE" dirty="0"/>
          </a:p>
        </p:txBody>
      </p:sp>
      <p:cxnSp>
        <p:nvCxnSpPr>
          <p:cNvPr id="10" name="Gerader Verbinder 9">
            <a:extLst>
              <a:ext uri="{FF2B5EF4-FFF2-40B4-BE49-F238E27FC236}">
                <a16:creationId xmlns:a16="http://schemas.microsoft.com/office/drawing/2014/main" id="{F1B9E229-2EFA-41C6-8438-B43B0B52060A}"/>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Datumsplatzhalter 3">
            <a:extLst>
              <a:ext uri="{FF2B5EF4-FFF2-40B4-BE49-F238E27FC236}">
                <a16:creationId xmlns:a16="http://schemas.microsoft.com/office/drawing/2014/main" id="{BBA72F51-D36C-4288-8291-2A0289B4F5D7}"/>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9491694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großes Bild randlos">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4CD9A9D8-D8C6-4003-B9E8-BD62D25DD5A7}"/>
              </a:ext>
            </a:extLst>
          </p:cNvPr>
          <p:cNvSpPr>
            <a:spLocks noGrp="1"/>
          </p:cNvSpPr>
          <p:nvPr>
            <p:ph type="pic" sz="quarter" idx="13"/>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016924 h 6858000"/>
              <a:gd name="connsiteX3" fmla="*/ 12192000 w 12192000"/>
              <a:gd name="connsiteY3" fmla="*/ 6542543 h 6858000"/>
              <a:gd name="connsiteX4" fmla="*/ 11687162 w 12192000"/>
              <a:gd name="connsiteY4" fmla="*/ 6858000 h 6858000"/>
              <a:gd name="connsiteX5" fmla="*/ 11350923 w 12192000"/>
              <a:gd name="connsiteY5" fmla="*/ 6858000 h 6858000"/>
              <a:gd name="connsiteX6" fmla="*/ 0 w 12192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016924"/>
                </a:lnTo>
                <a:lnTo>
                  <a:pt x="12192000" y="6542543"/>
                </a:lnTo>
                <a:lnTo>
                  <a:pt x="11687162" y="6858000"/>
                </a:lnTo>
                <a:lnTo>
                  <a:pt x="11350923" y="6858000"/>
                </a:lnTo>
                <a:lnTo>
                  <a:pt x="0" y="6858000"/>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Tree>
    <p:extLst>
      <p:ext uri="{BB962C8B-B14F-4D97-AF65-F5344CB8AC3E}">
        <p14:creationId xmlns:p14="http://schemas.microsoft.com/office/powerpoint/2010/main" val="12647460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großes Bild randlos mit Infobox">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C41C5038-CFF1-4F38-9317-76B31675F402}"/>
              </a:ext>
            </a:extLst>
          </p:cNvPr>
          <p:cNvSpPr>
            <a:spLocks noGrp="1"/>
          </p:cNvSpPr>
          <p:nvPr>
            <p:ph type="pic" sz="quarter" idx="13"/>
          </p:nvPr>
        </p:nvSpPr>
        <p:spPr>
          <a:xfrm>
            <a:off x="0" y="0"/>
            <a:ext cx="12192000" cy="6858000"/>
          </a:xfrm>
          <a:solidFill>
            <a:schemeClr val="accent3"/>
          </a:solidFill>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8" name="Textplatzhalter 7">
            <a:extLst>
              <a:ext uri="{FF2B5EF4-FFF2-40B4-BE49-F238E27FC236}">
                <a16:creationId xmlns:a16="http://schemas.microsoft.com/office/drawing/2014/main" id="{AE41C75F-ABCF-4120-9997-79E41E476C3E}"/>
              </a:ext>
            </a:extLst>
          </p:cNvPr>
          <p:cNvSpPr>
            <a:spLocks noGrp="1"/>
          </p:cNvSpPr>
          <p:nvPr>
            <p:ph type="body" sz="quarter" idx="14"/>
          </p:nvPr>
        </p:nvSpPr>
        <p:spPr>
          <a:xfrm>
            <a:off x="7772138" y="3635125"/>
            <a:ext cx="3700462" cy="2682875"/>
          </a:xfrm>
          <a:custGeom>
            <a:avLst/>
            <a:gdLst>
              <a:gd name="connsiteX0" fmla="*/ 0 w 3700462"/>
              <a:gd name="connsiteY0" fmla="*/ 0 h 2682875"/>
              <a:gd name="connsiteX1" fmla="*/ 3700462 w 3700462"/>
              <a:gd name="connsiteY1" fmla="*/ 0 h 2682875"/>
              <a:gd name="connsiteX2" fmla="*/ 3700462 w 3700462"/>
              <a:gd name="connsiteY2" fmla="*/ 2365624 h 2682875"/>
              <a:gd name="connsiteX3" fmla="*/ 3192754 w 3700462"/>
              <a:gd name="connsiteY3" fmla="*/ 2682875 h 2682875"/>
              <a:gd name="connsiteX4" fmla="*/ 0 w 3700462"/>
              <a:gd name="connsiteY4" fmla="*/ 2682875 h 268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0462" h="2682875">
                <a:moveTo>
                  <a:pt x="0" y="0"/>
                </a:moveTo>
                <a:lnTo>
                  <a:pt x="3700462" y="0"/>
                </a:lnTo>
                <a:lnTo>
                  <a:pt x="3700462" y="2365624"/>
                </a:lnTo>
                <a:lnTo>
                  <a:pt x="3192754" y="2682875"/>
                </a:lnTo>
                <a:lnTo>
                  <a:pt x="0" y="2682875"/>
                </a:lnTo>
                <a:close/>
              </a:path>
            </a:pathLst>
          </a:custGeom>
          <a:solidFill>
            <a:schemeClr val="tx2">
              <a:alpha val="90000"/>
            </a:schemeClr>
          </a:solidFill>
        </p:spPr>
        <p:txBody>
          <a:bodyPr wrap="square" lIns="144000" tIns="216000" rIns="144000" bIns="216000">
            <a:noAutofit/>
          </a:bodyPr>
          <a:lstStyle>
            <a:lvl1pPr>
              <a:defRPr>
                <a:solidFill>
                  <a:schemeClr val="bg1"/>
                </a:solidFill>
              </a:defRPr>
            </a:lvl1pPr>
          </a:lstStyle>
          <a:p>
            <a:pPr lvl="0"/>
            <a:r>
              <a:rPr lang="de-DE"/>
              <a:t>Mastertextformat bearbeiten</a:t>
            </a:r>
          </a:p>
        </p:txBody>
      </p:sp>
    </p:spTree>
    <p:extLst>
      <p:ext uri="{BB962C8B-B14F-4D97-AF65-F5344CB8AC3E}">
        <p14:creationId xmlns:p14="http://schemas.microsoft.com/office/powerpoint/2010/main" val="51974971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roßes Zitat farbige Fläche">
    <p:spTree>
      <p:nvGrpSpPr>
        <p:cNvPr id="1" name=""/>
        <p:cNvGrpSpPr/>
        <p:nvPr/>
      </p:nvGrpSpPr>
      <p:grpSpPr>
        <a:xfrm>
          <a:off x="0" y="0"/>
          <a:ext cx="0" cy="0"/>
          <a:chOff x="0" y="0"/>
          <a:chExt cx="0" cy="0"/>
        </a:xfrm>
      </p:grpSpPr>
      <p:sp>
        <p:nvSpPr>
          <p:cNvPr id="8" name="Freihandform: Form 7">
            <a:extLst>
              <a:ext uri="{FF2B5EF4-FFF2-40B4-BE49-F238E27FC236}">
                <a16:creationId xmlns:a16="http://schemas.microsoft.com/office/drawing/2014/main" id="{8B88B8D8-3758-4D29-BFC4-10E8CA86532D}"/>
              </a:ext>
            </a:extLst>
          </p:cNvPr>
          <p:cNvSpPr/>
          <p:nvPr userDrawn="1"/>
        </p:nvSpPr>
        <p:spPr>
          <a:xfrm>
            <a:off x="1"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016924 h 6858000"/>
              <a:gd name="connsiteX3" fmla="*/ 12191999 w 12192000"/>
              <a:gd name="connsiteY3" fmla="*/ 6016924 h 6858000"/>
              <a:gd name="connsiteX4" fmla="*/ 12191999 w 12192000"/>
              <a:gd name="connsiteY4" fmla="*/ 6542543 h 6858000"/>
              <a:gd name="connsiteX5" fmla="*/ 11687161 w 12192000"/>
              <a:gd name="connsiteY5" fmla="*/ 6858000 h 6858000"/>
              <a:gd name="connsiteX6" fmla="*/ 11350922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016924"/>
                </a:lnTo>
                <a:lnTo>
                  <a:pt x="12191999" y="6016924"/>
                </a:lnTo>
                <a:lnTo>
                  <a:pt x="12191999" y="6542543"/>
                </a:lnTo>
                <a:lnTo>
                  <a:pt x="11687161" y="6858000"/>
                </a:lnTo>
                <a:lnTo>
                  <a:pt x="11350922"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 name="Textplatzhalter 3">
            <a:extLst>
              <a:ext uri="{FF2B5EF4-FFF2-40B4-BE49-F238E27FC236}">
                <a16:creationId xmlns:a16="http://schemas.microsoft.com/office/drawing/2014/main" id="{C59D7FE2-23D0-4E6B-BBBD-6ED33EF01A11}"/>
              </a:ext>
            </a:extLst>
          </p:cNvPr>
          <p:cNvSpPr>
            <a:spLocks noGrp="1"/>
          </p:cNvSpPr>
          <p:nvPr>
            <p:ph type="body" sz="quarter" idx="10"/>
          </p:nvPr>
        </p:nvSpPr>
        <p:spPr>
          <a:xfrm>
            <a:off x="720000" y="674688"/>
            <a:ext cx="7094537" cy="5508625"/>
          </a:xfrm>
        </p:spPr>
        <p:txBody>
          <a:bodyPr/>
          <a:lstStyle>
            <a:lvl1pPr>
              <a:defRPr sz="4500" cap="all" baseline="0">
                <a:solidFill>
                  <a:schemeClr val="bg1"/>
                </a:solidFill>
              </a:defRPr>
            </a:lvl1pPr>
          </a:lstStyle>
          <a:p>
            <a:pPr lvl="0"/>
            <a:r>
              <a:rPr lang="de-DE"/>
              <a:t>Mastertextformat bearbeiten</a:t>
            </a:r>
          </a:p>
        </p:txBody>
      </p:sp>
    </p:spTree>
    <p:extLst>
      <p:ext uri="{BB962C8B-B14F-4D97-AF65-F5344CB8AC3E}">
        <p14:creationId xmlns:p14="http://schemas.microsoft.com/office/powerpoint/2010/main" val="198984221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rennfolie">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C41C5038-CFF1-4F38-9317-76B31675F402}"/>
              </a:ext>
            </a:extLst>
          </p:cNvPr>
          <p:cNvSpPr>
            <a:spLocks noGrp="1"/>
          </p:cNvSpPr>
          <p:nvPr>
            <p:ph type="pic" sz="quarter" idx="13"/>
          </p:nvPr>
        </p:nvSpPr>
        <p:spPr>
          <a:xfrm>
            <a:off x="0" y="0"/>
            <a:ext cx="9363456" cy="6858000"/>
          </a:xfrm>
          <a:solidFill>
            <a:schemeClr val="accent3"/>
          </a:solidFill>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8" name="Textplatzhalter 7">
            <a:extLst>
              <a:ext uri="{FF2B5EF4-FFF2-40B4-BE49-F238E27FC236}">
                <a16:creationId xmlns:a16="http://schemas.microsoft.com/office/drawing/2014/main" id="{F7038655-7059-4575-A4F1-5B3CA3E246BB}"/>
              </a:ext>
            </a:extLst>
          </p:cNvPr>
          <p:cNvSpPr>
            <a:spLocks noGrp="1"/>
          </p:cNvSpPr>
          <p:nvPr>
            <p:ph type="body" sz="quarter" idx="14"/>
          </p:nvPr>
        </p:nvSpPr>
        <p:spPr>
          <a:xfrm>
            <a:off x="8660524" y="1854748"/>
            <a:ext cx="3531476" cy="3090041"/>
          </a:xfrm>
          <a:custGeom>
            <a:avLst/>
            <a:gdLst>
              <a:gd name="connsiteX0" fmla="*/ 0 w 3531476"/>
              <a:gd name="connsiteY0" fmla="*/ 0 h 3090041"/>
              <a:gd name="connsiteX1" fmla="*/ 3531476 w 3531476"/>
              <a:gd name="connsiteY1" fmla="*/ 0 h 3090041"/>
              <a:gd name="connsiteX2" fmla="*/ 3531476 w 3531476"/>
              <a:gd name="connsiteY2" fmla="*/ 2779106 h 3090041"/>
              <a:gd name="connsiteX3" fmla="*/ 3033876 w 3531476"/>
              <a:gd name="connsiteY3" fmla="*/ 3090041 h 3090041"/>
              <a:gd name="connsiteX4" fmla="*/ 0 w 3531476"/>
              <a:gd name="connsiteY4" fmla="*/ 3090041 h 3090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1476" h="3090041">
                <a:moveTo>
                  <a:pt x="0" y="0"/>
                </a:moveTo>
                <a:lnTo>
                  <a:pt x="3531476" y="0"/>
                </a:lnTo>
                <a:lnTo>
                  <a:pt x="3531476" y="2779106"/>
                </a:lnTo>
                <a:lnTo>
                  <a:pt x="3033876" y="3090041"/>
                </a:lnTo>
                <a:lnTo>
                  <a:pt x="0" y="3090041"/>
                </a:lnTo>
                <a:close/>
              </a:path>
            </a:pathLst>
          </a:custGeom>
          <a:solidFill>
            <a:schemeClr val="tx2"/>
          </a:solidFill>
        </p:spPr>
        <p:txBody>
          <a:bodyPr wrap="square" lIns="360000" tIns="360000" rIns="144000" bIns="360000">
            <a:noAutofit/>
          </a:bodyPr>
          <a:lstStyle>
            <a:lvl1pPr>
              <a:defRPr sz="2500" cap="all" baseline="0">
                <a:solidFill>
                  <a:schemeClr val="bg1"/>
                </a:solidFill>
              </a:defRPr>
            </a:lvl1pPr>
            <a:lvl2pPr marL="0" indent="0">
              <a:buNone/>
              <a:defRPr sz="1600">
                <a:solidFill>
                  <a:schemeClr val="bg1"/>
                </a:solidFill>
              </a:defRPr>
            </a:lvl2pPr>
          </a:lstStyle>
          <a:p>
            <a:pPr lvl="0"/>
            <a:r>
              <a:rPr lang="de-DE"/>
              <a:t>Mastertextformat bearbeiten</a:t>
            </a:r>
          </a:p>
        </p:txBody>
      </p:sp>
      <p:sp>
        <p:nvSpPr>
          <p:cNvPr id="3" name="Textplatzhalter 2">
            <a:extLst>
              <a:ext uri="{FF2B5EF4-FFF2-40B4-BE49-F238E27FC236}">
                <a16:creationId xmlns:a16="http://schemas.microsoft.com/office/drawing/2014/main" id="{ED68F79D-CB6A-4403-9205-FF4BE5DB4D98}"/>
              </a:ext>
            </a:extLst>
          </p:cNvPr>
          <p:cNvSpPr>
            <a:spLocks noGrp="1"/>
          </p:cNvSpPr>
          <p:nvPr>
            <p:ph type="body" sz="quarter" idx="17" hasCustomPrompt="1"/>
          </p:nvPr>
        </p:nvSpPr>
        <p:spPr>
          <a:xfrm>
            <a:off x="5129048" y="1854748"/>
            <a:ext cx="3531476" cy="3090041"/>
          </a:xfrm>
          <a:solidFill>
            <a:schemeClr val="tx2">
              <a:alpha val="50000"/>
            </a:schemeClr>
          </a:solidFill>
        </p:spPr>
        <p:txBody>
          <a:bodyPr lIns="0" tIns="0" rIns="0" bIns="432000" anchor="b"/>
          <a:lstStyle>
            <a:lvl1pPr marL="0" algn="ctr">
              <a:defRPr sz="18500">
                <a:solidFill>
                  <a:schemeClr val="bg1"/>
                </a:solidFill>
              </a:defRPr>
            </a:lvl1pPr>
          </a:lstStyle>
          <a:p>
            <a:pPr lvl="0"/>
            <a:r>
              <a:rPr lang="de-DE" dirty="0"/>
              <a:t>01</a:t>
            </a:r>
          </a:p>
        </p:txBody>
      </p:sp>
    </p:spTree>
    <p:extLst>
      <p:ext uri="{BB962C8B-B14F-4D97-AF65-F5344CB8AC3E}">
        <p14:creationId xmlns:p14="http://schemas.microsoft.com/office/powerpoint/2010/main" val="31477505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Bildplatzhalter 14">
            <a:extLst>
              <a:ext uri="{FF2B5EF4-FFF2-40B4-BE49-F238E27FC236}">
                <a16:creationId xmlns:a16="http://schemas.microsoft.com/office/drawing/2014/main" id="{F3A21B8E-DB9A-4C1E-A79D-3A75A7C68328}"/>
              </a:ext>
            </a:extLst>
          </p:cNvPr>
          <p:cNvSpPr>
            <a:spLocks noGrp="1"/>
          </p:cNvSpPr>
          <p:nvPr>
            <p:ph type="pic" sz="quarter" idx="12"/>
          </p:nvPr>
        </p:nvSpPr>
        <p:spPr>
          <a:xfrm>
            <a:off x="6038850" y="765175"/>
            <a:ext cx="5561013" cy="5324475"/>
          </a:xfrm>
          <a:custGeom>
            <a:avLst/>
            <a:gdLst>
              <a:gd name="connsiteX0" fmla="*/ 1513682 w 5561013"/>
              <a:gd name="connsiteY0" fmla="*/ 758515 h 5324475"/>
              <a:gd name="connsiteX1" fmla="*/ 1056580 w 5561013"/>
              <a:gd name="connsiteY1" fmla="*/ 2662238 h 5324475"/>
              <a:gd name="connsiteX2" fmla="*/ 1513682 w 5561013"/>
              <a:gd name="connsiteY2" fmla="*/ 4565961 h 5324475"/>
              <a:gd name="connsiteX3" fmla="*/ 1970784 w 5561013"/>
              <a:gd name="connsiteY3" fmla="*/ 2662238 h 5324475"/>
              <a:gd name="connsiteX4" fmla="*/ 1513682 w 5561013"/>
              <a:gd name="connsiteY4" fmla="*/ 758515 h 5324475"/>
              <a:gd name="connsiteX5" fmla="*/ 4556698 w 5561013"/>
              <a:gd name="connsiteY5" fmla="*/ 66675 h 5324475"/>
              <a:gd name="connsiteX6" fmla="*/ 5561013 w 5561013"/>
              <a:gd name="connsiteY6" fmla="*/ 66675 h 5324475"/>
              <a:gd name="connsiteX7" fmla="*/ 5561013 w 5561013"/>
              <a:gd name="connsiteY7" fmla="*/ 5257800 h 5324475"/>
              <a:gd name="connsiteX8" fmla="*/ 4429285 w 5561013"/>
              <a:gd name="connsiteY8" fmla="*/ 5257800 h 5324475"/>
              <a:gd name="connsiteX9" fmla="*/ 4429285 w 5561013"/>
              <a:gd name="connsiteY9" fmla="*/ 1264055 h 5324475"/>
              <a:gd name="connsiteX10" fmla="*/ 3544888 w 5561013"/>
              <a:gd name="connsiteY10" fmla="*/ 1844152 h 5324475"/>
              <a:gd name="connsiteX11" fmla="*/ 3544888 w 5561013"/>
              <a:gd name="connsiteY11" fmla="*/ 869886 h 5324475"/>
              <a:gd name="connsiteX12" fmla="*/ 4556698 w 5561013"/>
              <a:gd name="connsiteY12" fmla="*/ 66675 h 5324475"/>
              <a:gd name="connsiteX13" fmla="*/ 1513682 w 5561013"/>
              <a:gd name="connsiteY13" fmla="*/ 0 h 5324475"/>
              <a:gd name="connsiteX14" fmla="*/ 3027363 w 5561013"/>
              <a:gd name="connsiteY14" fmla="*/ 2647365 h 5324475"/>
              <a:gd name="connsiteX15" fmla="*/ 1513682 w 5561013"/>
              <a:gd name="connsiteY15" fmla="*/ 5324475 h 5324475"/>
              <a:gd name="connsiteX16" fmla="*/ 0 w 5561013"/>
              <a:gd name="connsiteY16" fmla="*/ 2647365 h 5324475"/>
              <a:gd name="connsiteX17" fmla="*/ 1513682 w 5561013"/>
              <a:gd name="connsiteY1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61013"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556698" y="66675"/>
                </a:moveTo>
                <a:cubicBezTo>
                  <a:pt x="5561013" y="66675"/>
                  <a:pt x="5561013" y="66675"/>
                  <a:pt x="5561013" y="66675"/>
                </a:cubicBezTo>
                <a:cubicBezTo>
                  <a:pt x="5561013" y="5257800"/>
                  <a:pt x="5561013" y="5257800"/>
                  <a:pt x="5561013" y="5257800"/>
                </a:cubicBezTo>
                <a:cubicBezTo>
                  <a:pt x="4429285" y="5257800"/>
                  <a:pt x="4429285" y="5257800"/>
                  <a:pt x="4429285" y="5257800"/>
                </a:cubicBezTo>
                <a:cubicBezTo>
                  <a:pt x="4429285" y="1264055"/>
                  <a:pt x="4429285" y="1264055"/>
                  <a:pt x="4429285" y="1264055"/>
                </a:cubicBezTo>
                <a:cubicBezTo>
                  <a:pt x="4159469" y="1487169"/>
                  <a:pt x="3852178" y="1680535"/>
                  <a:pt x="3544888" y="1844152"/>
                </a:cubicBezTo>
                <a:lnTo>
                  <a:pt x="3544888" y="869886"/>
                </a:lnTo>
                <a:cubicBezTo>
                  <a:pt x="3919632" y="661647"/>
                  <a:pt x="4286882" y="416221"/>
                  <a:pt x="4556698" y="66675"/>
                </a:cubicBezTo>
                <a:close/>
                <a:moveTo>
                  <a:pt x="1513682" y="0"/>
                </a:moveTo>
                <a:cubicBezTo>
                  <a:pt x="2802559" y="0"/>
                  <a:pt x="3027363" y="661841"/>
                  <a:pt x="3027363" y="2647365"/>
                </a:cubicBezTo>
                <a:cubicBezTo>
                  <a:pt x="3027363" y="4275940"/>
                  <a:pt x="2922454"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chor="t">
            <a:noAutofit/>
          </a:bodyPr>
          <a:lstStyle>
            <a:lvl1pPr algn="l">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685992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DE0024ED-F493-4039-9FFD-C79724436035}"/>
              </a:ext>
            </a:extLst>
          </p:cNvPr>
          <p:cNvSpPr>
            <a:spLocks noGrp="1"/>
          </p:cNvSpPr>
          <p:nvPr>
            <p:ph type="body" sz="quarter" idx="10" hasCustomPrompt="1"/>
          </p:nvPr>
        </p:nvSpPr>
        <p:spPr>
          <a:xfrm>
            <a:off x="5787935" y="4555087"/>
            <a:ext cx="3701122" cy="1501200"/>
          </a:xfrm>
        </p:spPr>
        <p:txBody>
          <a:bodyPr>
            <a:noAutofit/>
          </a:bodyPr>
          <a:lstStyle>
            <a:lvl1pPr>
              <a:spcBef>
                <a:spcPts val="600"/>
              </a:spcBef>
              <a:defRPr sz="12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
        <p:nvSpPr>
          <p:cNvPr id="3" name="Textplatzhalter 2">
            <a:extLst>
              <a:ext uri="{FF2B5EF4-FFF2-40B4-BE49-F238E27FC236}">
                <a16:creationId xmlns:a16="http://schemas.microsoft.com/office/drawing/2014/main" id="{90140C9C-A356-404D-B3DF-B72B0FD780E9}"/>
              </a:ext>
            </a:extLst>
          </p:cNvPr>
          <p:cNvSpPr>
            <a:spLocks noGrp="1"/>
          </p:cNvSpPr>
          <p:nvPr>
            <p:ph type="body" sz="quarter" idx="11" hasCustomPrompt="1"/>
          </p:nvPr>
        </p:nvSpPr>
        <p:spPr>
          <a:xfrm>
            <a:off x="719999" y="2911642"/>
            <a:ext cx="4528800" cy="1386205"/>
          </a:xfrm>
        </p:spPr>
        <p:txBody>
          <a:bodyPr/>
          <a:lstStyle>
            <a:lvl1pPr>
              <a:defRPr sz="2000"/>
            </a:lvl1pPr>
          </a:lstStyle>
          <a:p>
            <a:pPr lvl="0"/>
            <a:r>
              <a:rPr lang="de-DE" dirty="0"/>
              <a:t>Vielen Dank für Ihre Aufmerksamkeit</a:t>
            </a:r>
          </a:p>
        </p:txBody>
      </p:sp>
      <p:sp>
        <p:nvSpPr>
          <p:cNvPr id="20" name="Platzhalter für Fremdlogos">
            <a:extLst>
              <a:ext uri="{FF2B5EF4-FFF2-40B4-BE49-F238E27FC236}">
                <a16:creationId xmlns:a16="http://schemas.microsoft.com/office/drawing/2014/main" id="{A15A62B3-BDC3-4472-BC89-C7A2F64E2F1C}"/>
              </a:ext>
            </a:extLst>
          </p:cNvPr>
          <p:cNvSpPr>
            <a:spLocks noGrp="1"/>
          </p:cNvSpPr>
          <p:nvPr>
            <p:ph type="pic" sz="quarter" idx="16"/>
          </p:nvPr>
        </p:nvSpPr>
        <p:spPr>
          <a:xfrm>
            <a:off x="2056046"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18" name="Platzhalter für Fremdlogos 1">
            <a:extLst>
              <a:ext uri="{FF2B5EF4-FFF2-40B4-BE49-F238E27FC236}">
                <a16:creationId xmlns:a16="http://schemas.microsoft.com/office/drawing/2014/main" id="{CF92D11E-EBA9-4A24-945B-30F2B7BEC151}"/>
              </a:ext>
            </a:extLst>
          </p:cNvPr>
          <p:cNvSpPr>
            <a:spLocks noGrp="1"/>
          </p:cNvSpPr>
          <p:nvPr>
            <p:ph type="pic" sz="quarter" idx="15"/>
          </p:nvPr>
        </p:nvSpPr>
        <p:spPr>
          <a:xfrm>
            <a:off x="719999"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7" name="Freihandform: Form 6">
            <a:extLst>
              <a:ext uri="{FF2B5EF4-FFF2-40B4-BE49-F238E27FC236}">
                <a16:creationId xmlns:a16="http://schemas.microsoft.com/office/drawing/2014/main" id="{D4E56867-90E5-495D-A049-FF9011ED98AE}"/>
              </a:ext>
            </a:extLst>
          </p:cNvPr>
          <p:cNvSpPr/>
          <p:nvPr userDrawn="1"/>
        </p:nvSpPr>
        <p:spPr>
          <a:xfrm>
            <a:off x="5608325" y="0"/>
            <a:ext cx="4197412" cy="4165172"/>
          </a:xfrm>
          <a:custGeom>
            <a:avLst/>
            <a:gdLst>
              <a:gd name="connsiteX0" fmla="*/ 0 w 4197412"/>
              <a:gd name="connsiteY0" fmla="*/ 0 h 4165172"/>
              <a:gd name="connsiteX1" fmla="*/ 4197412 w 4197412"/>
              <a:gd name="connsiteY1" fmla="*/ 0 h 4165172"/>
              <a:gd name="connsiteX2" fmla="*/ 4197412 w 4197412"/>
              <a:gd name="connsiteY2" fmla="*/ 3598303 h 4165172"/>
              <a:gd name="connsiteX3" fmla="*/ 4197412 w 4197412"/>
              <a:gd name="connsiteY3" fmla="*/ 3948901 h 4165172"/>
              <a:gd name="connsiteX4" fmla="*/ 3877523 w 4197412"/>
              <a:gd name="connsiteY4" fmla="*/ 4165172 h 4165172"/>
              <a:gd name="connsiteX5" fmla="*/ 3152782 w 4197412"/>
              <a:gd name="connsiteY5" fmla="*/ 4165172 h 4165172"/>
              <a:gd name="connsiteX6" fmla="*/ 0 w 4197412"/>
              <a:gd name="connsiteY6" fmla="*/ 4165172 h 416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7412" h="4165172">
                <a:moveTo>
                  <a:pt x="0" y="0"/>
                </a:moveTo>
                <a:lnTo>
                  <a:pt x="4197412" y="0"/>
                </a:lnTo>
                <a:lnTo>
                  <a:pt x="4197412" y="3598303"/>
                </a:lnTo>
                <a:lnTo>
                  <a:pt x="4197412" y="3948901"/>
                </a:lnTo>
                <a:lnTo>
                  <a:pt x="3877523" y="4165172"/>
                </a:lnTo>
                <a:lnTo>
                  <a:pt x="3152782" y="4165172"/>
                </a:lnTo>
                <a:lnTo>
                  <a:pt x="0" y="41651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151868282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2">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Bildplatzhalter 15">
            <a:extLst>
              <a:ext uri="{FF2B5EF4-FFF2-40B4-BE49-F238E27FC236}">
                <a16:creationId xmlns:a16="http://schemas.microsoft.com/office/drawing/2014/main" id="{6FCFBDDB-1C1B-4C6C-B5A9-DF9D9A50502D}"/>
              </a:ext>
            </a:extLst>
          </p:cNvPr>
          <p:cNvSpPr>
            <a:spLocks noGrp="1"/>
          </p:cNvSpPr>
          <p:nvPr>
            <p:ph type="pic" sz="quarter" idx="12"/>
          </p:nvPr>
        </p:nvSpPr>
        <p:spPr>
          <a:xfrm>
            <a:off x="5230812" y="765175"/>
            <a:ext cx="6369050" cy="5324475"/>
          </a:xfrm>
          <a:custGeom>
            <a:avLst/>
            <a:gdLst>
              <a:gd name="connsiteX0" fmla="*/ 1513681 w 6369050"/>
              <a:gd name="connsiteY0" fmla="*/ 758515 h 5324475"/>
              <a:gd name="connsiteX1" fmla="*/ 1056579 w 6369050"/>
              <a:gd name="connsiteY1" fmla="*/ 2662238 h 5324475"/>
              <a:gd name="connsiteX2" fmla="*/ 1513681 w 6369050"/>
              <a:gd name="connsiteY2" fmla="*/ 4565961 h 5324475"/>
              <a:gd name="connsiteX3" fmla="*/ 1970783 w 6369050"/>
              <a:gd name="connsiteY3" fmla="*/ 2662238 h 5324475"/>
              <a:gd name="connsiteX4" fmla="*/ 1513681 w 6369050"/>
              <a:gd name="connsiteY4" fmla="*/ 758515 h 5324475"/>
              <a:gd name="connsiteX5" fmla="*/ 4788092 w 6369050"/>
              <a:gd name="connsiteY5" fmla="*/ 0 h 5324475"/>
              <a:gd name="connsiteX6" fmla="*/ 6316601 w 6369050"/>
              <a:gd name="connsiteY6" fmla="*/ 1338620 h 5324475"/>
              <a:gd name="connsiteX7" fmla="*/ 4375994 w 6369050"/>
              <a:gd name="connsiteY7" fmla="*/ 4454629 h 5324475"/>
              <a:gd name="connsiteX8" fmla="*/ 6369050 w 6369050"/>
              <a:gd name="connsiteY8" fmla="*/ 4454629 h 5324475"/>
              <a:gd name="connsiteX9" fmla="*/ 6369050 w 6369050"/>
              <a:gd name="connsiteY9" fmla="*/ 5257800 h 5324475"/>
              <a:gd name="connsiteX10" fmla="*/ 3267075 w 6369050"/>
              <a:gd name="connsiteY10" fmla="*/ 5257800 h 5324475"/>
              <a:gd name="connsiteX11" fmla="*/ 3267075 w 6369050"/>
              <a:gd name="connsiteY11" fmla="*/ 4343077 h 5324475"/>
              <a:gd name="connsiteX12" fmla="*/ 5260131 w 6369050"/>
              <a:gd name="connsiteY12" fmla="*/ 1264252 h 5324475"/>
              <a:gd name="connsiteX13" fmla="*/ 4863019 w 6369050"/>
              <a:gd name="connsiteY13" fmla="*/ 758551 h 5324475"/>
              <a:gd name="connsiteX14" fmla="*/ 4405964 w 6369050"/>
              <a:gd name="connsiteY14" fmla="*/ 1502229 h 5324475"/>
              <a:gd name="connsiteX15" fmla="*/ 3349495 w 6369050"/>
              <a:gd name="connsiteY15" fmla="*/ 1502229 h 5324475"/>
              <a:gd name="connsiteX16" fmla="*/ 4788092 w 6369050"/>
              <a:gd name="connsiteY16" fmla="*/ 0 h 5324475"/>
              <a:gd name="connsiteX17" fmla="*/ 1513681 w 6369050"/>
              <a:gd name="connsiteY17" fmla="*/ 0 h 5324475"/>
              <a:gd name="connsiteX18" fmla="*/ 3027363 w 6369050"/>
              <a:gd name="connsiteY18" fmla="*/ 2647365 h 5324475"/>
              <a:gd name="connsiteX19" fmla="*/ 1513681 w 6369050"/>
              <a:gd name="connsiteY19" fmla="*/ 5324475 h 5324475"/>
              <a:gd name="connsiteX20" fmla="*/ 0 w 6369050"/>
              <a:gd name="connsiteY20" fmla="*/ 2647365 h 5324475"/>
              <a:gd name="connsiteX21" fmla="*/ 1513681 w 6369050"/>
              <a:gd name="connsiteY21"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369050" h="5324475">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90" y="758515"/>
                  <a:pt x="1513681" y="758515"/>
                </a:cubicBezTo>
                <a:close/>
                <a:moveTo>
                  <a:pt x="4788092" y="0"/>
                </a:moveTo>
                <a:cubicBezTo>
                  <a:pt x="5694707" y="0"/>
                  <a:pt x="6316601" y="364402"/>
                  <a:pt x="6316601" y="1338620"/>
                </a:cubicBezTo>
                <a:cubicBezTo>
                  <a:pt x="6316601" y="2506193"/>
                  <a:pt x="4945438" y="3829939"/>
                  <a:pt x="4375994" y="4454629"/>
                </a:cubicBezTo>
                <a:cubicBezTo>
                  <a:pt x="6369050" y="4454629"/>
                  <a:pt x="6369050" y="4454629"/>
                  <a:pt x="6369050" y="4454629"/>
                </a:cubicBezTo>
                <a:cubicBezTo>
                  <a:pt x="6369050" y="5257800"/>
                  <a:pt x="6369050" y="5257800"/>
                  <a:pt x="6369050" y="5257800"/>
                </a:cubicBezTo>
                <a:lnTo>
                  <a:pt x="3267075" y="5257800"/>
                </a:lnTo>
                <a:cubicBezTo>
                  <a:pt x="3267075" y="4343077"/>
                  <a:pt x="3267075" y="4343077"/>
                  <a:pt x="3267075" y="4343077"/>
                </a:cubicBezTo>
                <a:cubicBezTo>
                  <a:pt x="4915467" y="2164102"/>
                  <a:pt x="5260131" y="1911251"/>
                  <a:pt x="5260131" y="1264252"/>
                </a:cubicBezTo>
                <a:cubicBezTo>
                  <a:pt x="5260131" y="1003965"/>
                  <a:pt x="5162726" y="758551"/>
                  <a:pt x="4863019" y="758551"/>
                </a:cubicBezTo>
                <a:cubicBezTo>
                  <a:pt x="4428443" y="758551"/>
                  <a:pt x="4405964" y="1167574"/>
                  <a:pt x="4405964" y="1502229"/>
                </a:cubicBezTo>
                <a:cubicBezTo>
                  <a:pt x="3349495" y="1502229"/>
                  <a:pt x="3349495" y="1502229"/>
                  <a:pt x="3349495" y="1502229"/>
                </a:cubicBezTo>
                <a:cubicBezTo>
                  <a:pt x="3274568" y="535448"/>
                  <a:pt x="3821534" y="0"/>
                  <a:pt x="4788092" y="0"/>
                </a:cubicBezTo>
                <a:close/>
                <a:moveTo>
                  <a:pt x="1513681" y="0"/>
                </a:moveTo>
                <a:cubicBezTo>
                  <a:pt x="2802559" y="0"/>
                  <a:pt x="3027363" y="661841"/>
                  <a:pt x="3027363" y="2647365"/>
                </a:cubicBezTo>
                <a:cubicBezTo>
                  <a:pt x="3027363" y="4275940"/>
                  <a:pt x="2922454"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chor="t">
            <a:noAutofit/>
          </a:bodyPr>
          <a:lstStyle>
            <a:lvl1pPr algn="l">
              <a:defRPr sz="1200"/>
            </a:lvl1pPr>
          </a:lstStyle>
          <a:p>
            <a:r>
              <a:rPr lang="de-DE" dirty="0"/>
              <a:t>Bild durch Klicken auf Symbol hinzufügen</a:t>
            </a:r>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9407884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3">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Bildplatzhalter 19">
            <a:extLst>
              <a:ext uri="{FF2B5EF4-FFF2-40B4-BE49-F238E27FC236}">
                <a16:creationId xmlns:a16="http://schemas.microsoft.com/office/drawing/2014/main" id="{4A7BACB7-0FFC-41F1-9652-1A1D53E18842}"/>
              </a:ext>
            </a:extLst>
          </p:cNvPr>
          <p:cNvSpPr>
            <a:spLocks noGrp="1"/>
          </p:cNvSpPr>
          <p:nvPr>
            <p:ph type="pic" sz="quarter" idx="12"/>
          </p:nvPr>
        </p:nvSpPr>
        <p:spPr>
          <a:xfrm>
            <a:off x="5465736" y="766763"/>
            <a:ext cx="6340475" cy="5324475"/>
          </a:xfrm>
          <a:custGeom>
            <a:avLst/>
            <a:gdLst>
              <a:gd name="connsiteX0" fmla="*/ 1513682 w 6340475"/>
              <a:gd name="connsiteY0" fmla="*/ 758515 h 5324475"/>
              <a:gd name="connsiteX1" fmla="*/ 1056580 w 6340475"/>
              <a:gd name="connsiteY1" fmla="*/ 2662238 h 5324475"/>
              <a:gd name="connsiteX2" fmla="*/ 1513682 w 6340475"/>
              <a:gd name="connsiteY2" fmla="*/ 4565961 h 5324475"/>
              <a:gd name="connsiteX3" fmla="*/ 1970784 w 6340475"/>
              <a:gd name="connsiteY3" fmla="*/ 2662238 h 5324475"/>
              <a:gd name="connsiteX4" fmla="*/ 1513682 w 6340475"/>
              <a:gd name="connsiteY4" fmla="*/ 758515 h 5324475"/>
              <a:gd name="connsiteX5" fmla="*/ 4826263 w 6340475"/>
              <a:gd name="connsiteY5" fmla="*/ 0 h 5324475"/>
              <a:gd name="connsiteX6" fmla="*/ 6258018 w 6340475"/>
              <a:gd name="connsiteY6" fmla="*/ 1383174 h 5324475"/>
              <a:gd name="connsiteX7" fmla="*/ 5545889 w 6340475"/>
              <a:gd name="connsiteY7" fmla="*/ 2535819 h 5324475"/>
              <a:gd name="connsiteX8" fmla="*/ 5545889 w 6340475"/>
              <a:gd name="connsiteY8" fmla="*/ 2550691 h 5324475"/>
              <a:gd name="connsiteX9" fmla="*/ 6340475 w 6340475"/>
              <a:gd name="connsiteY9" fmla="*/ 3814882 h 5324475"/>
              <a:gd name="connsiteX10" fmla="*/ 4706326 w 6340475"/>
              <a:gd name="connsiteY10" fmla="*/ 5324475 h 5324475"/>
              <a:gd name="connsiteX11" fmla="*/ 3267075 w 6340475"/>
              <a:gd name="connsiteY11" fmla="*/ 3852064 h 5324475"/>
              <a:gd name="connsiteX12" fmla="*/ 4324025 w 6340475"/>
              <a:gd name="connsiteY12" fmla="*/ 3852064 h 5324475"/>
              <a:gd name="connsiteX13" fmla="*/ 4766295 w 6340475"/>
              <a:gd name="connsiteY13" fmla="*/ 4565961 h 5324475"/>
              <a:gd name="connsiteX14" fmla="*/ 5283525 w 6340475"/>
              <a:gd name="connsiteY14" fmla="*/ 3762827 h 5324475"/>
              <a:gd name="connsiteX15" fmla="*/ 4301536 w 6340475"/>
              <a:gd name="connsiteY15" fmla="*/ 2967131 h 5324475"/>
              <a:gd name="connsiteX16" fmla="*/ 4301536 w 6340475"/>
              <a:gd name="connsiteY16" fmla="*/ 2141688 h 5324475"/>
              <a:gd name="connsiteX17" fmla="*/ 5201068 w 6340475"/>
              <a:gd name="connsiteY17" fmla="*/ 1375737 h 5324475"/>
              <a:gd name="connsiteX18" fmla="*/ 4796279 w 6340475"/>
              <a:gd name="connsiteY18" fmla="*/ 758515 h 5324475"/>
              <a:gd name="connsiteX19" fmla="*/ 4383993 w 6340475"/>
              <a:gd name="connsiteY19" fmla="*/ 1360865 h 5324475"/>
              <a:gd name="connsiteX20" fmla="*/ 3327044 w 6340475"/>
              <a:gd name="connsiteY20" fmla="*/ 1360865 h 5324475"/>
              <a:gd name="connsiteX21" fmla="*/ 3686856 w 6340475"/>
              <a:gd name="connsiteY21" fmla="*/ 275148 h 5324475"/>
              <a:gd name="connsiteX22" fmla="*/ 4826263 w 6340475"/>
              <a:gd name="connsiteY22" fmla="*/ 0 h 5324475"/>
              <a:gd name="connsiteX23" fmla="*/ 1513682 w 6340475"/>
              <a:gd name="connsiteY23" fmla="*/ 0 h 5324475"/>
              <a:gd name="connsiteX24" fmla="*/ 3027363 w 6340475"/>
              <a:gd name="connsiteY24" fmla="*/ 2647365 h 5324475"/>
              <a:gd name="connsiteX25" fmla="*/ 1513682 w 6340475"/>
              <a:gd name="connsiteY25" fmla="*/ 5324475 h 5324475"/>
              <a:gd name="connsiteX26" fmla="*/ 0 w 6340475"/>
              <a:gd name="connsiteY26" fmla="*/ 2647365 h 5324475"/>
              <a:gd name="connsiteX27" fmla="*/ 1513682 w 6340475"/>
              <a:gd name="connsiteY2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40475"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826263" y="0"/>
                </a:moveTo>
                <a:cubicBezTo>
                  <a:pt x="5800756" y="0"/>
                  <a:pt x="6258018" y="394130"/>
                  <a:pt x="6258018" y="1383174"/>
                </a:cubicBezTo>
                <a:cubicBezTo>
                  <a:pt x="6258018" y="1873977"/>
                  <a:pt x="6115592" y="2454018"/>
                  <a:pt x="5545889" y="2535819"/>
                </a:cubicBezTo>
                <a:cubicBezTo>
                  <a:pt x="5545889" y="2550691"/>
                  <a:pt x="5545889" y="2550691"/>
                  <a:pt x="5545889" y="2550691"/>
                </a:cubicBezTo>
                <a:cubicBezTo>
                  <a:pt x="6228033" y="2677110"/>
                  <a:pt x="6340475" y="3212533"/>
                  <a:pt x="6340475" y="3814882"/>
                </a:cubicBezTo>
                <a:cubicBezTo>
                  <a:pt x="6340475" y="4885727"/>
                  <a:pt x="5763275" y="5324475"/>
                  <a:pt x="4706326" y="5324475"/>
                </a:cubicBezTo>
                <a:cubicBezTo>
                  <a:pt x="3671864" y="5324475"/>
                  <a:pt x="3267075" y="4960091"/>
                  <a:pt x="3267075" y="3852064"/>
                </a:cubicBezTo>
                <a:cubicBezTo>
                  <a:pt x="4324025" y="3852064"/>
                  <a:pt x="4324025" y="3852064"/>
                  <a:pt x="4324025" y="3852064"/>
                </a:cubicBezTo>
                <a:cubicBezTo>
                  <a:pt x="4324025" y="4194140"/>
                  <a:pt x="4309033" y="4565961"/>
                  <a:pt x="4766295" y="4565961"/>
                </a:cubicBezTo>
                <a:cubicBezTo>
                  <a:pt x="5246045" y="4565961"/>
                  <a:pt x="5283525" y="4127212"/>
                  <a:pt x="5283525" y="3762827"/>
                </a:cubicBezTo>
                <a:cubicBezTo>
                  <a:pt x="5283525" y="3011749"/>
                  <a:pt x="5036154" y="2967131"/>
                  <a:pt x="4301536" y="2967131"/>
                </a:cubicBezTo>
                <a:cubicBezTo>
                  <a:pt x="4301536" y="2141688"/>
                  <a:pt x="4301536" y="2141688"/>
                  <a:pt x="4301536" y="2141688"/>
                </a:cubicBezTo>
                <a:cubicBezTo>
                  <a:pt x="4991177" y="2171434"/>
                  <a:pt x="5201068" y="2097070"/>
                  <a:pt x="5201068" y="1375737"/>
                </a:cubicBezTo>
                <a:cubicBezTo>
                  <a:pt x="5201068" y="1093153"/>
                  <a:pt x="5156092" y="758515"/>
                  <a:pt x="4796279" y="758515"/>
                </a:cubicBezTo>
                <a:cubicBezTo>
                  <a:pt x="4413978" y="758515"/>
                  <a:pt x="4383993" y="1063408"/>
                  <a:pt x="4383993" y="1360865"/>
                </a:cubicBezTo>
                <a:lnTo>
                  <a:pt x="3327044" y="1360865"/>
                </a:lnTo>
                <a:cubicBezTo>
                  <a:pt x="3327044" y="825443"/>
                  <a:pt x="3446981" y="483367"/>
                  <a:pt x="3686856" y="275148"/>
                </a:cubicBezTo>
                <a:cubicBezTo>
                  <a:pt x="3926732" y="74364"/>
                  <a:pt x="4301536" y="0"/>
                  <a:pt x="4826263" y="0"/>
                </a:cubicBezTo>
                <a:close/>
                <a:moveTo>
                  <a:pt x="1513682" y="0"/>
                </a:moveTo>
                <a:cubicBezTo>
                  <a:pt x="2802559" y="0"/>
                  <a:pt x="3027363" y="661841"/>
                  <a:pt x="3027363" y="2647365"/>
                </a:cubicBezTo>
                <a:cubicBezTo>
                  <a:pt x="3027363" y="4275940"/>
                  <a:pt x="2922455"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chor="t">
            <a:noAutofit/>
          </a:bodyPr>
          <a:lstStyle>
            <a:lvl1pPr algn="l">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8527907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4">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AutoShape 8">
            <a:extLst>
              <a:ext uri="{FF2B5EF4-FFF2-40B4-BE49-F238E27FC236}">
                <a16:creationId xmlns:a16="http://schemas.microsoft.com/office/drawing/2014/main" id="{CC3A3E53-F4B8-4831-8E8A-2BCF39C93BFC}"/>
              </a:ext>
            </a:extLst>
          </p:cNvPr>
          <p:cNvSpPr>
            <a:spLocks noChangeAspect="1" noChangeArrowheads="1" noTextEdit="1"/>
          </p:cNvSpPr>
          <p:nvPr userDrawn="1"/>
        </p:nvSpPr>
        <p:spPr bwMode="auto">
          <a:xfrm>
            <a:off x="5465763" y="768350"/>
            <a:ext cx="6396037"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Bildplatzhalter 45">
            <a:extLst>
              <a:ext uri="{FF2B5EF4-FFF2-40B4-BE49-F238E27FC236}">
                <a16:creationId xmlns:a16="http://schemas.microsoft.com/office/drawing/2014/main" id="{7686F10E-6BEB-4F49-9079-2FC10BB83F95}"/>
              </a:ext>
            </a:extLst>
          </p:cNvPr>
          <p:cNvSpPr>
            <a:spLocks noGrp="1"/>
          </p:cNvSpPr>
          <p:nvPr>
            <p:ph type="pic" sz="quarter" idx="12"/>
          </p:nvPr>
        </p:nvSpPr>
        <p:spPr>
          <a:xfrm>
            <a:off x="5462589" y="765175"/>
            <a:ext cx="6402387" cy="5324475"/>
          </a:xfrm>
          <a:custGeom>
            <a:avLst/>
            <a:gdLst>
              <a:gd name="connsiteX0" fmla="*/ 5102190 w 6402387"/>
              <a:gd name="connsiteY0" fmla="*/ 798690 h 5324475"/>
              <a:gd name="connsiteX1" fmla="*/ 4150460 w 6402387"/>
              <a:gd name="connsiteY1" fmla="*/ 3267821 h 5324475"/>
              <a:gd name="connsiteX2" fmla="*/ 4648806 w 6402387"/>
              <a:gd name="connsiteY2" fmla="*/ 3267821 h 5324475"/>
              <a:gd name="connsiteX3" fmla="*/ 5049732 w 6402387"/>
              <a:gd name="connsiteY3" fmla="*/ 3267821 h 5324475"/>
              <a:gd name="connsiteX4" fmla="*/ 5117177 w 6402387"/>
              <a:gd name="connsiteY4" fmla="*/ 798690 h 5324475"/>
              <a:gd name="connsiteX5" fmla="*/ 5102190 w 6402387"/>
              <a:gd name="connsiteY5" fmla="*/ 798690 h 5324475"/>
              <a:gd name="connsiteX6" fmla="*/ 1513681 w 6402387"/>
              <a:gd name="connsiteY6" fmla="*/ 758515 h 5324475"/>
              <a:gd name="connsiteX7" fmla="*/ 1056579 w 6402387"/>
              <a:gd name="connsiteY7" fmla="*/ 2662238 h 5324475"/>
              <a:gd name="connsiteX8" fmla="*/ 1513681 w 6402387"/>
              <a:gd name="connsiteY8" fmla="*/ 4565961 h 5324475"/>
              <a:gd name="connsiteX9" fmla="*/ 1970783 w 6402387"/>
              <a:gd name="connsiteY9" fmla="*/ 2662238 h 5324475"/>
              <a:gd name="connsiteX10" fmla="*/ 1513681 w 6402387"/>
              <a:gd name="connsiteY10" fmla="*/ 758515 h 5324475"/>
              <a:gd name="connsiteX11" fmla="*/ 4607590 w 6402387"/>
              <a:gd name="connsiteY11" fmla="*/ 69850 h 5324475"/>
              <a:gd name="connsiteX12" fmla="*/ 5997714 w 6402387"/>
              <a:gd name="connsiteY12" fmla="*/ 69850 h 5324475"/>
              <a:gd name="connsiteX13" fmla="*/ 5997714 w 6402387"/>
              <a:gd name="connsiteY13" fmla="*/ 3267821 h 5324475"/>
              <a:gd name="connsiteX14" fmla="*/ 6402387 w 6402387"/>
              <a:gd name="connsiteY14" fmla="*/ 3267821 h 5324475"/>
              <a:gd name="connsiteX15" fmla="*/ 6402387 w 6402387"/>
              <a:gd name="connsiteY15" fmla="*/ 4071032 h 5324475"/>
              <a:gd name="connsiteX16" fmla="*/ 5997714 w 6402387"/>
              <a:gd name="connsiteY16" fmla="*/ 4071032 h 5324475"/>
              <a:gd name="connsiteX17" fmla="*/ 5997714 w 6402387"/>
              <a:gd name="connsiteY17" fmla="*/ 5260975 h 5324475"/>
              <a:gd name="connsiteX18" fmla="*/ 4963552 w 6402387"/>
              <a:gd name="connsiteY18" fmla="*/ 5260975 h 5324475"/>
              <a:gd name="connsiteX19" fmla="*/ 4963552 w 6402387"/>
              <a:gd name="connsiteY19" fmla="*/ 4071032 h 5324475"/>
              <a:gd name="connsiteX20" fmla="*/ 4648806 w 6402387"/>
              <a:gd name="connsiteY20" fmla="*/ 4071032 h 5324475"/>
              <a:gd name="connsiteX21" fmla="*/ 3344862 w 6402387"/>
              <a:gd name="connsiteY21" fmla="*/ 4071032 h 5324475"/>
              <a:gd name="connsiteX22" fmla="*/ 3344862 w 6402387"/>
              <a:gd name="connsiteY22" fmla="*/ 3026114 h 5324475"/>
              <a:gd name="connsiteX23" fmla="*/ 4607590 w 6402387"/>
              <a:gd name="connsiteY23" fmla="*/ 69850 h 5324475"/>
              <a:gd name="connsiteX24" fmla="*/ 1513681 w 6402387"/>
              <a:gd name="connsiteY24" fmla="*/ 0 h 5324475"/>
              <a:gd name="connsiteX25" fmla="*/ 3027362 w 6402387"/>
              <a:gd name="connsiteY25" fmla="*/ 2647365 h 5324475"/>
              <a:gd name="connsiteX26" fmla="*/ 1513681 w 6402387"/>
              <a:gd name="connsiteY26" fmla="*/ 5324475 h 5324475"/>
              <a:gd name="connsiteX27" fmla="*/ 0 w 6402387"/>
              <a:gd name="connsiteY27" fmla="*/ 2647365 h 5324475"/>
              <a:gd name="connsiteX28" fmla="*/ 1513681 w 6402387"/>
              <a:gd name="connsiteY28"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402387" h="5324475">
                <a:moveTo>
                  <a:pt x="5102190" y="798690"/>
                </a:moveTo>
                <a:cubicBezTo>
                  <a:pt x="5102190" y="798690"/>
                  <a:pt x="5102190" y="798690"/>
                  <a:pt x="4150460" y="3267821"/>
                </a:cubicBezTo>
                <a:cubicBezTo>
                  <a:pt x="4150460" y="3267821"/>
                  <a:pt x="4150460" y="3267821"/>
                  <a:pt x="4648806" y="3267821"/>
                </a:cubicBezTo>
                <a:cubicBezTo>
                  <a:pt x="4648806" y="3267821"/>
                  <a:pt x="4648806" y="3267821"/>
                  <a:pt x="5049732" y="3267821"/>
                </a:cubicBezTo>
                <a:cubicBezTo>
                  <a:pt x="5049732" y="3267821"/>
                  <a:pt x="5049732" y="3267821"/>
                  <a:pt x="5117177" y="798690"/>
                </a:cubicBezTo>
                <a:cubicBezTo>
                  <a:pt x="5117177" y="798690"/>
                  <a:pt x="5117177" y="798690"/>
                  <a:pt x="5102190" y="798690"/>
                </a:cubicBezTo>
                <a:close/>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89" y="758515"/>
                  <a:pt x="1513681" y="758515"/>
                </a:cubicBezTo>
                <a:close/>
                <a:moveTo>
                  <a:pt x="4607590" y="69850"/>
                </a:moveTo>
                <a:cubicBezTo>
                  <a:pt x="4607590" y="69850"/>
                  <a:pt x="4607590" y="69850"/>
                  <a:pt x="5997714" y="69850"/>
                </a:cubicBezTo>
                <a:cubicBezTo>
                  <a:pt x="5997714" y="69850"/>
                  <a:pt x="5997714" y="69850"/>
                  <a:pt x="5997714" y="3267821"/>
                </a:cubicBezTo>
                <a:lnTo>
                  <a:pt x="6402387" y="3267821"/>
                </a:lnTo>
                <a:cubicBezTo>
                  <a:pt x="6402387" y="3267821"/>
                  <a:pt x="6402387" y="3267821"/>
                  <a:pt x="6402387" y="4071032"/>
                </a:cubicBezTo>
                <a:cubicBezTo>
                  <a:pt x="6402387" y="4071032"/>
                  <a:pt x="6402387" y="4071032"/>
                  <a:pt x="5997714" y="4071032"/>
                </a:cubicBezTo>
                <a:cubicBezTo>
                  <a:pt x="5997714" y="4071032"/>
                  <a:pt x="5997714" y="4071032"/>
                  <a:pt x="5997714" y="5260975"/>
                </a:cubicBezTo>
                <a:cubicBezTo>
                  <a:pt x="5997714" y="5260975"/>
                  <a:pt x="5997714" y="5260975"/>
                  <a:pt x="4963552" y="5260975"/>
                </a:cubicBezTo>
                <a:cubicBezTo>
                  <a:pt x="4963552" y="5260975"/>
                  <a:pt x="4963552" y="5260975"/>
                  <a:pt x="4963552" y="4071032"/>
                </a:cubicBezTo>
                <a:cubicBezTo>
                  <a:pt x="4963552" y="4071032"/>
                  <a:pt x="4963552" y="4071032"/>
                  <a:pt x="4648806" y="4071032"/>
                </a:cubicBezTo>
                <a:cubicBezTo>
                  <a:pt x="4648806" y="4071032"/>
                  <a:pt x="4648806" y="4071032"/>
                  <a:pt x="3344862" y="4071032"/>
                </a:cubicBezTo>
                <a:cubicBezTo>
                  <a:pt x="3344862" y="4071032"/>
                  <a:pt x="3344862" y="4071032"/>
                  <a:pt x="3344862" y="3026114"/>
                </a:cubicBezTo>
                <a:cubicBezTo>
                  <a:pt x="4603843" y="88443"/>
                  <a:pt x="4600096" y="69850"/>
                  <a:pt x="4607590" y="69850"/>
                </a:cubicBezTo>
                <a:close/>
                <a:moveTo>
                  <a:pt x="1513681" y="0"/>
                </a:moveTo>
                <a:cubicBezTo>
                  <a:pt x="2802558" y="0"/>
                  <a:pt x="3027362" y="661841"/>
                  <a:pt x="3027362" y="2647365"/>
                </a:cubicBezTo>
                <a:cubicBezTo>
                  <a:pt x="3027362" y="4275940"/>
                  <a:pt x="2922454" y="5324475"/>
                  <a:pt x="1513681" y="5324475"/>
                </a:cubicBezTo>
                <a:cubicBezTo>
                  <a:pt x="104909"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5482869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5">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Bildplatzhalter 16">
            <a:extLst>
              <a:ext uri="{FF2B5EF4-FFF2-40B4-BE49-F238E27FC236}">
                <a16:creationId xmlns:a16="http://schemas.microsoft.com/office/drawing/2014/main" id="{0B12AE07-BDEA-42C6-960C-BEF6558549C5}"/>
              </a:ext>
            </a:extLst>
          </p:cNvPr>
          <p:cNvSpPr>
            <a:spLocks noGrp="1"/>
          </p:cNvSpPr>
          <p:nvPr>
            <p:ph type="pic" sz="quarter" idx="12"/>
          </p:nvPr>
        </p:nvSpPr>
        <p:spPr>
          <a:xfrm>
            <a:off x="5459414" y="765176"/>
            <a:ext cx="6376987" cy="5324475"/>
          </a:xfrm>
          <a:custGeom>
            <a:avLst/>
            <a:gdLst>
              <a:gd name="connsiteX0" fmla="*/ 1513681 w 6376987"/>
              <a:gd name="connsiteY0" fmla="*/ 758515 h 5324475"/>
              <a:gd name="connsiteX1" fmla="*/ 1056579 w 6376987"/>
              <a:gd name="connsiteY1" fmla="*/ 2662238 h 5324475"/>
              <a:gd name="connsiteX2" fmla="*/ 1513681 w 6376987"/>
              <a:gd name="connsiteY2" fmla="*/ 4565961 h 5324475"/>
              <a:gd name="connsiteX3" fmla="*/ 1970783 w 6376987"/>
              <a:gd name="connsiteY3" fmla="*/ 2662238 h 5324475"/>
              <a:gd name="connsiteX4" fmla="*/ 1513681 w 6376987"/>
              <a:gd name="connsiteY4" fmla="*/ 758515 h 5324475"/>
              <a:gd name="connsiteX5" fmla="*/ 3453855 w 6376987"/>
              <a:gd name="connsiteY5" fmla="*/ 66675 h 5324475"/>
              <a:gd name="connsiteX6" fmla="*/ 6189607 w 6376987"/>
              <a:gd name="connsiteY6" fmla="*/ 66675 h 5324475"/>
              <a:gd name="connsiteX7" fmla="*/ 6189607 w 6376987"/>
              <a:gd name="connsiteY7" fmla="*/ 869847 h 5324475"/>
              <a:gd name="connsiteX8" fmla="*/ 4488194 w 6376987"/>
              <a:gd name="connsiteY8" fmla="*/ 869847 h 5324475"/>
              <a:gd name="connsiteX9" fmla="*/ 4488194 w 6376987"/>
              <a:gd name="connsiteY9" fmla="*/ 2163846 h 5324475"/>
              <a:gd name="connsiteX10" fmla="*/ 4503184 w 6376987"/>
              <a:gd name="connsiteY10" fmla="*/ 2178719 h 5324475"/>
              <a:gd name="connsiteX11" fmla="*/ 5260201 w 6376987"/>
              <a:gd name="connsiteY11" fmla="*/ 1829191 h 5324475"/>
              <a:gd name="connsiteX12" fmla="*/ 6376987 w 6376987"/>
              <a:gd name="connsiteY12" fmla="*/ 3539649 h 5324475"/>
              <a:gd name="connsiteX13" fmla="*/ 4780507 w 6376987"/>
              <a:gd name="connsiteY13" fmla="*/ 5324475 h 5324475"/>
              <a:gd name="connsiteX14" fmla="*/ 3393893 w 6376987"/>
              <a:gd name="connsiteY14" fmla="*/ 4037913 h 5324475"/>
              <a:gd name="connsiteX15" fmla="*/ 4450718 w 6376987"/>
              <a:gd name="connsiteY15" fmla="*/ 4037913 h 5324475"/>
              <a:gd name="connsiteX16" fmla="*/ 4525670 w 6376987"/>
              <a:gd name="connsiteY16" fmla="*/ 4409752 h 5324475"/>
              <a:gd name="connsiteX17" fmla="*/ 4847964 w 6376987"/>
              <a:gd name="connsiteY17" fmla="*/ 4565924 h 5324475"/>
              <a:gd name="connsiteX18" fmla="*/ 5320162 w 6376987"/>
              <a:gd name="connsiteY18" fmla="*/ 3539649 h 5324475"/>
              <a:gd name="connsiteX19" fmla="*/ 4870449 w 6376987"/>
              <a:gd name="connsiteY19" fmla="*/ 2498501 h 5324475"/>
              <a:gd name="connsiteX20" fmla="*/ 4473203 w 6376987"/>
              <a:gd name="connsiteY20" fmla="*/ 3078569 h 5324475"/>
              <a:gd name="connsiteX21" fmla="*/ 3453855 w 6376987"/>
              <a:gd name="connsiteY21" fmla="*/ 3078569 h 5324475"/>
              <a:gd name="connsiteX22" fmla="*/ 3453855 w 6376987"/>
              <a:gd name="connsiteY22" fmla="*/ 66675 h 5324475"/>
              <a:gd name="connsiteX23" fmla="*/ 1513681 w 6376987"/>
              <a:gd name="connsiteY23" fmla="*/ 0 h 5324475"/>
              <a:gd name="connsiteX24" fmla="*/ 3027362 w 6376987"/>
              <a:gd name="connsiteY24" fmla="*/ 2647365 h 5324475"/>
              <a:gd name="connsiteX25" fmla="*/ 1513681 w 6376987"/>
              <a:gd name="connsiteY25" fmla="*/ 5324475 h 5324475"/>
              <a:gd name="connsiteX26" fmla="*/ 0 w 6376987"/>
              <a:gd name="connsiteY26" fmla="*/ 2647365 h 5324475"/>
              <a:gd name="connsiteX27" fmla="*/ 1513681 w 6376987"/>
              <a:gd name="connsiteY2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76987" h="5324475">
                <a:moveTo>
                  <a:pt x="1513681" y="758515"/>
                </a:moveTo>
                <a:cubicBezTo>
                  <a:pt x="1064073" y="758515"/>
                  <a:pt x="1056579" y="1063408"/>
                  <a:pt x="1056579" y="2662238"/>
                </a:cubicBezTo>
                <a:cubicBezTo>
                  <a:pt x="1056579" y="4231322"/>
                  <a:pt x="1094046" y="4565961"/>
                  <a:pt x="1513681" y="4565961"/>
                </a:cubicBezTo>
                <a:cubicBezTo>
                  <a:pt x="1933315" y="4565961"/>
                  <a:pt x="1970783" y="4231322"/>
                  <a:pt x="1970783" y="2662238"/>
                </a:cubicBezTo>
                <a:cubicBezTo>
                  <a:pt x="1970783" y="1063408"/>
                  <a:pt x="1963289" y="758515"/>
                  <a:pt x="1513681" y="758515"/>
                </a:cubicBezTo>
                <a:close/>
                <a:moveTo>
                  <a:pt x="3453855" y="66675"/>
                </a:moveTo>
                <a:cubicBezTo>
                  <a:pt x="6189607" y="66675"/>
                  <a:pt x="6189607" y="66675"/>
                  <a:pt x="6189607" y="66675"/>
                </a:cubicBezTo>
                <a:cubicBezTo>
                  <a:pt x="6189607" y="869847"/>
                  <a:pt x="6189607" y="869847"/>
                  <a:pt x="6189607" y="869847"/>
                </a:cubicBezTo>
                <a:cubicBezTo>
                  <a:pt x="4488194" y="869847"/>
                  <a:pt x="4488194" y="869847"/>
                  <a:pt x="4488194" y="869847"/>
                </a:cubicBezTo>
                <a:lnTo>
                  <a:pt x="4488194" y="2163846"/>
                </a:lnTo>
                <a:cubicBezTo>
                  <a:pt x="4503184" y="2178719"/>
                  <a:pt x="4503184" y="2178719"/>
                  <a:pt x="4503184" y="2178719"/>
                </a:cubicBezTo>
                <a:cubicBezTo>
                  <a:pt x="4668079" y="1933306"/>
                  <a:pt x="4952897" y="1829191"/>
                  <a:pt x="5260201" y="1829191"/>
                </a:cubicBezTo>
                <a:cubicBezTo>
                  <a:pt x="6122150" y="1829191"/>
                  <a:pt x="6376987" y="2416696"/>
                  <a:pt x="6376987" y="3539649"/>
                </a:cubicBezTo>
                <a:cubicBezTo>
                  <a:pt x="6376987" y="4930326"/>
                  <a:pt x="5852322" y="5324475"/>
                  <a:pt x="4780507" y="5324475"/>
                </a:cubicBezTo>
                <a:cubicBezTo>
                  <a:pt x="3911062" y="5324475"/>
                  <a:pt x="3363912" y="4967510"/>
                  <a:pt x="3393893" y="4037913"/>
                </a:cubicBezTo>
                <a:cubicBezTo>
                  <a:pt x="4450718" y="4037913"/>
                  <a:pt x="4450718" y="4037913"/>
                  <a:pt x="4450718" y="4037913"/>
                </a:cubicBezTo>
                <a:cubicBezTo>
                  <a:pt x="4450718" y="4179212"/>
                  <a:pt x="4465708" y="4313074"/>
                  <a:pt x="4525670" y="4409752"/>
                </a:cubicBezTo>
                <a:cubicBezTo>
                  <a:pt x="4585631" y="4506430"/>
                  <a:pt x="4683069" y="4565924"/>
                  <a:pt x="4847964" y="4565924"/>
                </a:cubicBezTo>
                <a:cubicBezTo>
                  <a:pt x="5267696" y="4565924"/>
                  <a:pt x="5320162" y="4246143"/>
                  <a:pt x="5320162" y="3539649"/>
                </a:cubicBezTo>
                <a:cubicBezTo>
                  <a:pt x="5320162" y="3204994"/>
                  <a:pt x="5350143" y="2498501"/>
                  <a:pt x="4870449" y="2498501"/>
                </a:cubicBezTo>
                <a:cubicBezTo>
                  <a:pt x="4563146" y="2498501"/>
                  <a:pt x="4473203" y="2840592"/>
                  <a:pt x="4473203" y="3078569"/>
                </a:cubicBezTo>
                <a:cubicBezTo>
                  <a:pt x="3453855" y="3078569"/>
                  <a:pt x="3453855" y="3078569"/>
                  <a:pt x="3453855" y="3078569"/>
                </a:cubicBezTo>
                <a:cubicBezTo>
                  <a:pt x="3453855" y="66675"/>
                  <a:pt x="3453855" y="66675"/>
                  <a:pt x="3453855" y="66675"/>
                </a:cubicBezTo>
                <a:close/>
                <a:moveTo>
                  <a:pt x="1513681" y="0"/>
                </a:moveTo>
                <a:cubicBezTo>
                  <a:pt x="2802558" y="0"/>
                  <a:pt x="3027362" y="661841"/>
                  <a:pt x="3027362" y="2647365"/>
                </a:cubicBezTo>
                <a:cubicBezTo>
                  <a:pt x="3027362" y="4275940"/>
                  <a:pt x="2922453"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1235446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6">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Bildplatzhalter 24">
            <a:extLst>
              <a:ext uri="{FF2B5EF4-FFF2-40B4-BE49-F238E27FC236}">
                <a16:creationId xmlns:a16="http://schemas.microsoft.com/office/drawing/2014/main" id="{87FBB8D6-D566-4BAB-A705-2AE0C793D641}"/>
              </a:ext>
            </a:extLst>
          </p:cNvPr>
          <p:cNvSpPr>
            <a:spLocks noGrp="1"/>
          </p:cNvSpPr>
          <p:nvPr>
            <p:ph type="pic" sz="quarter" idx="12"/>
          </p:nvPr>
        </p:nvSpPr>
        <p:spPr>
          <a:xfrm>
            <a:off x="5484813" y="765176"/>
            <a:ext cx="6351587" cy="5324475"/>
          </a:xfrm>
          <a:custGeom>
            <a:avLst/>
            <a:gdLst>
              <a:gd name="connsiteX0" fmla="*/ 4818659 w 6351587"/>
              <a:gd name="connsiteY0" fmla="*/ 2617619 h 5324475"/>
              <a:gd name="connsiteX1" fmla="*/ 4372648 w 6351587"/>
              <a:gd name="connsiteY1" fmla="*/ 3651281 h 5324475"/>
              <a:gd name="connsiteX2" fmla="*/ 4799919 w 6351587"/>
              <a:gd name="connsiteY2" fmla="*/ 4565961 h 5324475"/>
              <a:gd name="connsiteX3" fmla="*/ 5294653 w 6351587"/>
              <a:gd name="connsiteY3" fmla="*/ 3562044 h 5324475"/>
              <a:gd name="connsiteX4" fmla="*/ 4818659 w 6351587"/>
              <a:gd name="connsiteY4" fmla="*/ 2617619 h 5324475"/>
              <a:gd name="connsiteX5" fmla="*/ 1513681 w 6351587"/>
              <a:gd name="connsiteY5" fmla="*/ 758515 h 5324475"/>
              <a:gd name="connsiteX6" fmla="*/ 1056579 w 6351587"/>
              <a:gd name="connsiteY6" fmla="*/ 2662238 h 5324475"/>
              <a:gd name="connsiteX7" fmla="*/ 1513681 w 6351587"/>
              <a:gd name="connsiteY7" fmla="*/ 4565961 h 5324475"/>
              <a:gd name="connsiteX8" fmla="*/ 1970783 w 6351587"/>
              <a:gd name="connsiteY8" fmla="*/ 2662238 h 5324475"/>
              <a:gd name="connsiteX9" fmla="*/ 1513681 w 6351587"/>
              <a:gd name="connsiteY9" fmla="*/ 758515 h 5324475"/>
              <a:gd name="connsiteX10" fmla="*/ 4923602 w 6351587"/>
              <a:gd name="connsiteY10" fmla="*/ 0 h 5324475"/>
              <a:gd name="connsiteX11" fmla="*/ 6302863 w 6351587"/>
              <a:gd name="connsiteY11" fmla="*/ 1186109 h 5324475"/>
              <a:gd name="connsiteX12" fmla="*/ 5200954 w 6351587"/>
              <a:gd name="connsiteY12" fmla="*/ 1186109 h 5324475"/>
              <a:gd name="connsiteX13" fmla="*/ 5133490 w 6351587"/>
              <a:gd name="connsiteY13" fmla="*/ 855188 h 5324475"/>
              <a:gd name="connsiteX14" fmla="*/ 4833651 w 6351587"/>
              <a:gd name="connsiteY14" fmla="*/ 713896 h 5324475"/>
              <a:gd name="connsiteX15" fmla="*/ 4353908 w 6351587"/>
              <a:gd name="connsiteY15" fmla="*/ 2260671 h 5324475"/>
              <a:gd name="connsiteX16" fmla="*/ 5193458 w 6351587"/>
              <a:gd name="connsiteY16" fmla="*/ 1903723 h 5324475"/>
              <a:gd name="connsiteX17" fmla="*/ 6351587 w 6351587"/>
              <a:gd name="connsiteY17" fmla="*/ 3554608 h 5324475"/>
              <a:gd name="connsiteX18" fmla="*/ 4799919 w 6351587"/>
              <a:gd name="connsiteY18" fmla="*/ 5324475 h 5324475"/>
              <a:gd name="connsiteX19" fmla="*/ 4777431 w 6351587"/>
              <a:gd name="connsiteY19" fmla="*/ 5324475 h 5324475"/>
              <a:gd name="connsiteX20" fmla="*/ 3319462 w 6351587"/>
              <a:gd name="connsiteY20" fmla="*/ 3100986 h 5324475"/>
              <a:gd name="connsiteX21" fmla="*/ 4923602 w 6351587"/>
              <a:gd name="connsiteY21" fmla="*/ 0 h 5324475"/>
              <a:gd name="connsiteX22" fmla="*/ 1513681 w 6351587"/>
              <a:gd name="connsiteY22" fmla="*/ 0 h 5324475"/>
              <a:gd name="connsiteX23" fmla="*/ 3027362 w 6351587"/>
              <a:gd name="connsiteY23" fmla="*/ 2647365 h 5324475"/>
              <a:gd name="connsiteX24" fmla="*/ 1513681 w 6351587"/>
              <a:gd name="connsiteY24" fmla="*/ 5324475 h 5324475"/>
              <a:gd name="connsiteX25" fmla="*/ 0 w 6351587"/>
              <a:gd name="connsiteY25" fmla="*/ 2647365 h 5324475"/>
              <a:gd name="connsiteX26" fmla="*/ 1513681 w 6351587"/>
              <a:gd name="connsiteY26"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351587" h="5324475">
                <a:moveTo>
                  <a:pt x="4818659" y="2617619"/>
                </a:moveTo>
                <a:cubicBezTo>
                  <a:pt x="4406379" y="2617619"/>
                  <a:pt x="4372648" y="2996876"/>
                  <a:pt x="4372648" y="3651281"/>
                </a:cubicBezTo>
                <a:cubicBezTo>
                  <a:pt x="4372648" y="3956174"/>
                  <a:pt x="4380143" y="4558524"/>
                  <a:pt x="4799919" y="4565961"/>
                </a:cubicBezTo>
                <a:cubicBezTo>
                  <a:pt x="5159726" y="4565961"/>
                  <a:pt x="5294653" y="4361459"/>
                  <a:pt x="5294653" y="3562044"/>
                </a:cubicBezTo>
                <a:cubicBezTo>
                  <a:pt x="5294653" y="2907639"/>
                  <a:pt x="5215946" y="2617619"/>
                  <a:pt x="4818659" y="2617619"/>
                </a:cubicBezTo>
                <a:close/>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89" y="758515"/>
                  <a:pt x="1513681" y="758515"/>
                </a:cubicBezTo>
                <a:close/>
                <a:moveTo>
                  <a:pt x="4923602" y="0"/>
                </a:moveTo>
                <a:cubicBezTo>
                  <a:pt x="5718177" y="0"/>
                  <a:pt x="6310359" y="338357"/>
                  <a:pt x="6302863" y="1186109"/>
                </a:cubicBezTo>
                <a:cubicBezTo>
                  <a:pt x="6302863" y="1186109"/>
                  <a:pt x="6302863" y="1186109"/>
                  <a:pt x="5200954" y="1186109"/>
                </a:cubicBezTo>
                <a:cubicBezTo>
                  <a:pt x="5208450" y="1052253"/>
                  <a:pt x="5185962" y="936989"/>
                  <a:pt x="5133490" y="855188"/>
                </a:cubicBezTo>
                <a:cubicBezTo>
                  <a:pt x="5073522" y="765951"/>
                  <a:pt x="4983570" y="713896"/>
                  <a:pt x="4833651" y="713896"/>
                </a:cubicBezTo>
                <a:cubicBezTo>
                  <a:pt x="4368900" y="713896"/>
                  <a:pt x="4353908" y="944425"/>
                  <a:pt x="4353908" y="2260671"/>
                </a:cubicBezTo>
                <a:cubicBezTo>
                  <a:pt x="4646251" y="2007833"/>
                  <a:pt x="4803667" y="1903723"/>
                  <a:pt x="5193458" y="1903723"/>
                </a:cubicBezTo>
                <a:cubicBezTo>
                  <a:pt x="6167935" y="1903723"/>
                  <a:pt x="6351587" y="2758911"/>
                  <a:pt x="6351587" y="3554608"/>
                </a:cubicBezTo>
                <a:cubicBezTo>
                  <a:pt x="6351587" y="4621734"/>
                  <a:pt x="5954300" y="5309602"/>
                  <a:pt x="4799919" y="5324475"/>
                </a:cubicBezTo>
                <a:cubicBezTo>
                  <a:pt x="4799919" y="5324475"/>
                  <a:pt x="4784927" y="5324475"/>
                  <a:pt x="4777431" y="5324475"/>
                </a:cubicBezTo>
                <a:cubicBezTo>
                  <a:pt x="3413162" y="5324475"/>
                  <a:pt x="3319462" y="4164394"/>
                  <a:pt x="3319462" y="3100986"/>
                </a:cubicBezTo>
                <a:cubicBezTo>
                  <a:pt x="3319462" y="1033662"/>
                  <a:pt x="3431902" y="0"/>
                  <a:pt x="4923602" y="0"/>
                </a:cubicBezTo>
                <a:close/>
                <a:moveTo>
                  <a:pt x="1513681" y="0"/>
                </a:moveTo>
                <a:cubicBezTo>
                  <a:pt x="2802558" y="0"/>
                  <a:pt x="3027362" y="661841"/>
                  <a:pt x="3027362" y="2647365"/>
                </a:cubicBezTo>
                <a:cubicBezTo>
                  <a:pt x="3027362" y="4275940"/>
                  <a:pt x="2922453" y="5324475"/>
                  <a:pt x="1513681" y="5324475"/>
                </a:cubicBezTo>
                <a:cubicBezTo>
                  <a:pt x="104909"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164659975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7">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Bildplatzhalter 17">
            <a:extLst>
              <a:ext uri="{FF2B5EF4-FFF2-40B4-BE49-F238E27FC236}">
                <a16:creationId xmlns:a16="http://schemas.microsoft.com/office/drawing/2014/main" id="{2556C16B-02E0-499C-B16B-E3D129722914}"/>
              </a:ext>
            </a:extLst>
          </p:cNvPr>
          <p:cNvSpPr>
            <a:spLocks noGrp="1"/>
          </p:cNvSpPr>
          <p:nvPr>
            <p:ph type="pic" sz="quarter" idx="12"/>
          </p:nvPr>
        </p:nvSpPr>
        <p:spPr>
          <a:xfrm>
            <a:off x="5481638" y="765176"/>
            <a:ext cx="6219825" cy="5324475"/>
          </a:xfrm>
          <a:custGeom>
            <a:avLst/>
            <a:gdLst>
              <a:gd name="connsiteX0" fmla="*/ 1513682 w 6219825"/>
              <a:gd name="connsiteY0" fmla="*/ 758515 h 5324475"/>
              <a:gd name="connsiteX1" fmla="*/ 1056580 w 6219825"/>
              <a:gd name="connsiteY1" fmla="*/ 2662238 h 5324475"/>
              <a:gd name="connsiteX2" fmla="*/ 1513682 w 6219825"/>
              <a:gd name="connsiteY2" fmla="*/ 4565961 h 5324475"/>
              <a:gd name="connsiteX3" fmla="*/ 1970784 w 6219825"/>
              <a:gd name="connsiteY3" fmla="*/ 2662238 h 5324475"/>
              <a:gd name="connsiteX4" fmla="*/ 1513682 w 6219825"/>
              <a:gd name="connsiteY4" fmla="*/ 758515 h 5324475"/>
              <a:gd name="connsiteX5" fmla="*/ 3409950 w 6219825"/>
              <a:gd name="connsiteY5" fmla="*/ 66675 h 5324475"/>
              <a:gd name="connsiteX6" fmla="*/ 6219825 w 6219825"/>
              <a:gd name="connsiteY6" fmla="*/ 66675 h 5324475"/>
              <a:gd name="connsiteX7" fmla="*/ 6219825 w 6219825"/>
              <a:gd name="connsiteY7" fmla="*/ 1055688 h 5324475"/>
              <a:gd name="connsiteX8" fmla="*/ 4945062 w 6219825"/>
              <a:gd name="connsiteY8" fmla="*/ 5257800 h 5324475"/>
              <a:gd name="connsiteX9" fmla="*/ 3768725 w 6219825"/>
              <a:gd name="connsiteY9" fmla="*/ 5257800 h 5324475"/>
              <a:gd name="connsiteX10" fmla="*/ 5200650 w 6219825"/>
              <a:gd name="connsiteY10" fmla="*/ 869950 h 5324475"/>
              <a:gd name="connsiteX11" fmla="*/ 3409950 w 6219825"/>
              <a:gd name="connsiteY11" fmla="*/ 869950 h 5324475"/>
              <a:gd name="connsiteX12" fmla="*/ 1513682 w 6219825"/>
              <a:gd name="connsiteY12" fmla="*/ 0 h 5324475"/>
              <a:gd name="connsiteX13" fmla="*/ 3027363 w 6219825"/>
              <a:gd name="connsiteY13" fmla="*/ 2647365 h 5324475"/>
              <a:gd name="connsiteX14" fmla="*/ 1513682 w 6219825"/>
              <a:gd name="connsiteY14" fmla="*/ 5324475 h 5324475"/>
              <a:gd name="connsiteX15" fmla="*/ 0 w 6219825"/>
              <a:gd name="connsiteY15" fmla="*/ 2647365 h 5324475"/>
              <a:gd name="connsiteX16" fmla="*/ 1513682 w 6219825"/>
              <a:gd name="connsiteY16"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219825"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3409950" y="66675"/>
                </a:moveTo>
                <a:lnTo>
                  <a:pt x="6219825" y="66675"/>
                </a:lnTo>
                <a:lnTo>
                  <a:pt x="6219825" y="1055688"/>
                </a:lnTo>
                <a:lnTo>
                  <a:pt x="4945062" y="5257800"/>
                </a:lnTo>
                <a:lnTo>
                  <a:pt x="3768725" y="5257800"/>
                </a:lnTo>
                <a:lnTo>
                  <a:pt x="5200650" y="869950"/>
                </a:lnTo>
                <a:lnTo>
                  <a:pt x="3409950" y="869950"/>
                </a:lnTo>
                <a:close/>
                <a:moveTo>
                  <a:pt x="1513682" y="0"/>
                </a:moveTo>
                <a:cubicBezTo>
                  <a:pt x="2802559" y="0"/>
                  <a:pt x="3027363" y="661841"/>
                  <a:pt x="3027363" y="2647365"/>
                </a:cubicBezTo>
                <a:cubicBezTo>
                  <a:pt x="3027363" y="4275940"/>
                  <a:pt x="2922454"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2146713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8">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Bildplatzhalter 45">
            <a:extLst>
              <a:ext uri="{FF2B5EF4-FFF2-40B4-BE49-F238E27FC236}">
                <a16:creationId xmlns:a16="http://schemas.microsoft.com/office/drawing/2014/main" id="{286F1DC7-1C16-4D6A-BED6-DC5C2D85898E}"/>
              </a:ext>
            </a:extLst>
          </p:cNvPr>
          <p:cNvSpPr>
            <a:spLocks noGrp="1"/>
          </p:cNvSpPr>
          <p:nvPr>
            <p:ph type="pic" sz="quarter" idx="12"/>
          </p:nvPr>
        </p:nvSpPr>
        <p:spPr>
          <a:xfrm>
            <a:off x="5510214" y="765175"/>
            <a:ext cx="6351587" cy="5324475"/>
          </a:xfrm>
          <a:custGeom>
            <a:avLst/>
            <a:gdLst>
              <a:gd name="connsiteX0" fmla="*/ 4840861 w 6351587"/>
              <a:gd name="connsiteY0" fmla="*/ 2937385 h 5324475"/>
              <a:gd name="connsiteX1" fmla="*/ 4383519 w 6351587"/>
              <a:gd name="connsiteY1" fmla="*/ 3859501 h 5324475"/>
              <a:gd name="connsiteX2" fmla="*/ 4840861 w 6351587"/>
              <a:gd name="connsiteY2" fmla="*/ 4565961 h 5324475"/>
              <a:gd name="connsiteX3" fmla="*/ 4844609 w 6351587"/>
              <a:gd name="connsiteY3" fmla="*/ 4565961 h 5324475"/>
              <a:gd name="connsiteX4" fmla="*/ 5294453 w 6351587"/>
              <a:gd name="connsiteY4" fmla="*/ 3859501 h 5324475"/>
              <a:gd name="connsiteX5" fmla="*/ 4840861 w 6351587"/>
              <a:gd name="connsiteY5" fmla="*/ 2937385 h 5324475"/>
              <a:gd name="connsiteX6" fmla="*/ 4840861 w 6351587"/>
              <a:gd name="connsiteY6" fmla="*/ 758515 h 5324475"/>
              <a:gd name="connsiteX7" fmla="*/ 4428504 w 6351587"/>
              <a:gd name="connsiteY7" fmla="*/ 1435229 h 5324475"/>
              <a:gd name="connsiteX8" fmla="*/ 4840861 w 6351587"/>
              <a:gd name="connsiteY8" fmla="*/ 2134252 h 5324475"/>
              <a:gd name="connsiteX9" fmla="*/ 4844609 w 6351587"/>
              <a:gd name="connsiteY9" fmla="*/ 2134252 h 5324475"/>
              <a:gd name="connsiteX10" fmla="*/ 5253218 w 6351587"/>
              <a:gd name="connsiteY10" fmla="*/ 1435229 h 5324475"/>
              <a:gd name="connsiteX11" fmla="*/ 4840861 w 6351587"/>
              <a:gd name="connsiteY11" fmla="*/ 758515 h 5324475"/>
              <a:gd name="connsiteX12" fmla="*/ 1513681 w 6351587"/>
              <a:gd name="connsiteY12" fmla="*/ 758515 h 5324475"/>
              <a:gd name="connsiteX13" fmla="*/ 1056579 w 6351587"/>
              <a:gd name="connsiteY13" fmla="*/ 2662238 h 5324475"/>
              <a:gd name="connsiteX14" fmla="*/ 1513681 w 6351587"/>
              <a:gd name="connsiteY14" fmla="*/ 4565961 h 5324475"/>
              <a:gd name="connsiteX15" fmla="*/ 1970783 w 6351587"/>
              <a:gd name="connsiteY15" fmla="*/ 2662238 h 5324475"/>
              <a:gd name="connsiteX16" fmla="*/ 1513681 w 6351587"/>
              <a:gd name="connsiteY16" fmla="*/ 758515 h 5324475"/>
              <a:gd name="connsiteX17" fmla="*/ 4837112 w 6351587"/>
              <a:gd name="connsiteY17" fmla="*/ 0 h 5324475"/>
              <a:gd name="connsiteX18" fmla="*/ 6306603 w 6351587"/>
              <a:gd name="connsiteY18" fmla="*/ 1375737 h 5324475"/>
              <a:gd name="connsiteX19" fmla="*/ 5579355 w 6351587"/>
              <a:gd name="connsiteY19" fmla="*/ 2506073 h 5324475"/>
              <a:gd name="connsiteX20" fmla="*/ 5579355 w 6351587"/>
              <a:gd name="connsiteY20" fmla="*/ 2520946 h 5324475"/>
              <a:gd name="connsiteX21" fmla="*/ 6351587 w 6351587"/>
              <a:gd name="connsiteY21" fmla="*/ 3926429 h 5324475"/>
              <a:gd name="connsiteX22" fmla="*/ 4844609 w 6351587"/>
              <a:gd name="connsiteY22" fmla="*/ 5324475 h 5324475"/>
              <a:gd name="connsiteX23" fmla="*/ 4837112 w 6351587"/>
              <a:gd name="connsiteY23" fmla="*/ 5324475 h 5324475"/>
              <a:gd name="connsiteX24" fmla="*/ 3322637 w 6351587"/>
              <a:gd name="connsiteY24" fmla="*/ 3926429 h 5324475"/>
              <a:gd name="connsiteX25" fmla="*/ 4094869 w 6351587"/>
              <a:gd name="connsiteY25" fmla="*/ 2520946 h 5324475"/>
              <a:gd name="connsiteX26" fmla="*/ 4094869 w 6351587"/>
              <a:gd name="connsiteY26" fmla="*/ 2506073 h 5324475"/>
              <a:gd name="connsiteX27" fmla="*/ 3367621 w 6351587"/>
              <a:gd name="connsiteY27" fmla="*/ 1375737 h 5324475"/>
              <a:gd name="connsiteX28" fmla="*/ 4837112 w 6351587"/>
              <a:gd name="connsiteY28" fmla="*/ 0 h 5324475"/>
              <a:gd name="connsiteX29" fmla="*/ 1513681 w 6351587"/>
              <a:gd name="connsiteY29" fmla="*/ 0 h 5324475"/>
              <a:gd name="connsiteX30" fmla="*/ 3027362 w 6351587"/>
              <a:gd name="connsiteY30" fmla="*/ 2647365 h 5324475"/>
              <a:gd name="connsiteX31" fmla="*/ 1513681 w 6351587"/>
              <a:gd name="connsiteY31" fmla="*/ 5324475 h 5324475"/>
              <a:gd name="connsiteX32" fmla="*/ 0 w 6351587"/>
              <a:gd name="connsiteY32" fmla="*/ 2647365 h 5324475"/>
              <a:gd name="connsiteX33" fmla="*/ 1513681 w 6351587"/>
              <a:gd name="connsiteY33"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351587" h="5324475">
                <a:moveTo>
                  <a:pt x="4840861" y="2937385"/>
                </a:moveTo>
                <a:cubicBezTo>
                  <a:pt x="4368524" y="2937385"/>
                  <a:pt x="4383519" y="3547171"/>
                  <a:pt x="4383519" y="3859501"/>
                </a:cubicBezTo>
                <a:cubicBezTo>
                  <a:pt x="4383519" y="4156958"/>
                  <a:pt x="4436001" y="4565961"/>
                  <a:pt x="4840861" y="4565961"/>
                </a:cubicBezTo>
                <a:cubicBezTo>
                  <a:pt x="4840861" y="4565961"/>
                  <a:pt x="4844609" y="4565961"/>
                  <a:pt x="4844609" y="4565961"/>
                </a:cubicBezTo>
                <a:cubicBezTo>
                  <a:pt x="5249469" y="4562242"/>
                  <a:pt x="5294453" y="4156958"/>
                  <a:pt x="5294453" y="3859501"/>
                </a:cubicBezTo>
                <a:cubicBezTo>
                  <a:pt x="5294453" y="3550890"/>
                  <a:pt x="5309448" y="2944821"/>
                  <a:pt x="4840861" y="2937385"/>
                </a:cubicBezTo>
                <a:close/>
                <a:moveTo>
                  <a:pt x="4840861" y="758515"/>
                </a:moveTo>
                <a:cubicBezTo>
                  <a:pt x="4473488" y="758515"/>
                  <a:pt x="4428504" y="1182390"/>
                  <a:pt x="4428504" y="1435229"/>
                </a:cubicBezTo>
                <a:cubicBezTo>
                  <a:pt x="4428504" y="1702940"/>
                  <a:pt x="4473488" y="2130534"/>
                  <a:pt x="4840861" y="2134252"/>
                </a:cubicBezTo>
                <a:cubicBezTo>
                  <a:pt x="4844609" y="2134252"/>
                  <a:pt x="4840861" y="2134252"/>
                  <a:pt x="4844609" y="2134252"/>
                </a:cubicBezTo>
                <a:cubicBezTo>
                  <a:pt x="5211982" y="2126816"/>
                  <a:pt x="5253218" y="1702940"/>
                  <a:pt x="5253218" y="1435229"/>
                </a:cubicBezTo>
                <a:cubicBezTo>
                  <a:pt x="5253218" y="1182390"/>
                  <a:pt x="5208233" y="758515"/>
                  <a:pt x="4840861" y="758515"/>
                </a:cubicBezTo>
                <a:close/>
                <a:moveTo>
                  <a:pt x="1513681" y="758515"/>
                </a:moveTo>
                <a:cubicBezTo>
                  <a:pt x="1064073" y="758515"/>
                  <a:pt x="1056579" y="1063408"/>
                  <a:pt x="1056579" y="2662238"/>
                </a:cubicBezTo>
                <a:cubicBezTo>
                  <a:pt x="1056579" y="4231322"/>
                  <a:pt x="1094046" y="4565961"/>
                  <a:pt x="1513681" y="4565961"/>
                </a:cubicBezTo>
                <a:cubicBezTo>
                  <a:pt x="1933315" y="4565961"/>
                  <a:pt x="1970783" y="4231322"/>
                  <a:pt x="1970783" y="2662238"/>
                </a:cubicBezTo>
                <a:cubicBezTo>
                  <a:pt x="1970783" y="1063408"/>
                  <a:pt x="1963289" y="758515"/>
                  <a:pt x="1513681" y="758515"/>
                </a:cubicBezTo>
                <a:close/>
                <a:moveTo>
                  <a:pt x="4837112" y="0"/>
                </a:moveTo>
                <a:cubicBezTo>
                  <a:pt x="5804277" y="0"/>
                  <a:pt x="6306603" y="431312"/>
                  <a:pt x="6306603" y="1375737"/>
                </a:cubicBezTo>
                <a:cubicBezTo>
                  <a:pt x="6306603" y="1926032"/>
                  <a:pt x="6179147" y="2357345"/>
                  <a:pt x="5579355" y="2506073"/>
                </a:cubicBezTo>
                <a:cubicBezTo>
                  <a:pt x="5579355" y="2506073"/>
                  <a:pt x="5579355" y="2506073"/>
                  <a:pt x="5579355" y="2520946"/>
                </a:cubicBezTo>
                <a:cubicBezTo>
                  <a:pt x="6254121" y="2758911"/>
                  <a:pt x="6351587" y="3286897"/>
                  <a:pt x="6351587" y="3926429"/>
                </a:cubicBezTo>
                <a:cubicBezTo>
                  <a:pt x="6351587" y="4900599"/>
                  <a:pt x="5834266" y="5324475"/>
                  <a:pt x="4844609" y="5324475"/>
                </a:cubicBezTo>
                <a:cubicBezTo>
                  <a:pt x="4844609" y="5324475"/>
                  <a:pt x="4840861" y="5324475"/>
                  <a:pt x="4837112" y="5324475"/>
                </a:cubicBezTo>
                <a:cubicBezTo>
                  <a:pt x="3847455" y="5324475"/>
                  <a:pt x="3322637" y="4900599"/>
                  <a:pt x="3322637" y="3926429"/>
                </a:cubicBezTo>
                <a:cubicBezTo>
                  <a:pt x="3322637" y="3286897"/>
                  <a:pt x="3420103" y="2758911"/>
                  <a:pt x="4094869" y="2520946"/>
                </a:cubicBezTo>
                <a:cubicBezTo>
                  <a:pt x="4094869" y="2520946"/>
                  <a:pt x="4094869" y="2520946"/>
                  <a:pt x="4094869" y="2506073"/>
                </a:cubicBezTo>
                <a:cubicBezTo>
                  <a:pt x="3510072" y="2357345"/>
                  <a:pt x="3367621" y="1926032"/>
                  <a:pt x="3367621" y="1375737"/>
                </a:cubicBezTo>
                <a:cubicBezTo>
                  <a:pt x="3367621" y="431312"/>
                  <a:pt x="3869947" y="0"/>
                  <a:pt x="4837112" y="0"/>
                </a:cubicBezTo>
                <a:close/>
                <a:moveTo>
                  <a:pt x="1513681" y="0"/>
                </a:moveTo>
                <a:cubicBezTo>
                  <a:pt x="2802558" y="0"/>
                  <a:pt x="3027362" y="661841"/>
                  <a:pt x="3027362" y="2647365"/>
                </a:cubicBezTo>
                <a:cubicBezTo>
                  <a:pt x="3027362" y="4275940"/>
                  <a:pt x="2922453"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288885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9">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Bildplatzhalter 15">
            <a:extLst>
              <a:ext uri="{FF2B5EF4-FFF2-40B4-BE49-F238E27FC236}">
                <a16:creationId xmlns:a16="http://schemas.microsoft.com/office/drawing/2014/main" id="{6011AACA-54C2-4EF9-87BC-944999F30399}"/>
              </a:ext>
            </a:extLst>
          </p:cNvPr>
          <p:cNvSpPr>
            <a:spLocks noGrp="1"/>
          </p:cNvSpPr>
          <p:nvPr>
            <p:ph type="pic" sz="quarter" idx="12"/>
          </p:nvPr>
        </p:nvSpPr>
        <p:spPr>
          <a:xfrm>
            <a:off x="5521326" y="765174"/>
            <a:ext cx="6355205" cy="5327650"/>
          </a:xfrm>
          <a:custGeom>
            <a:avLst/>
            <a:gdLst>
              <a:gd name="connsiteX0" fmla="*/ 1513682 w 6355205"/>
              <a:gd name="connsiteY0" fmla="*/ 758515 h 5327650"/>
              <a:gd name="connsiteX1" fmla="*/ 1056580 w 6355205"/>
              <a:gd name="connsiteY1" fmla="*/ 2662238 h 5327650"/>
              <a:gd name="connsiteX2" fmla="*/ 1513682 w 6355205"/>
              <a:gd name="connsiteY2" fmla="*/ 4565961 h 5327650"/>
              <a:gd name="connsiteX3" fmla="*/ 1970784 w 6355205"/>
              <a:gd name="connsiteY3" fmla="*/ 2662238 h 5327650"/>
              <a:gd name="connsiteX4" fmla="*/ 1513682 w 6355205"/>
              <a:gd name="connsiteY4" fmla="*/ 758515 h 5327650"/>
              <a:gd name="connsiteX5" fmla="*/ 4833586 w 6355205"/>
              <a:gd name="connsiteY5" fmla="*/ 713823 h 5327650"/>
              <a:gd name="connsiteX6" fmla="*/ 4376351 w 6355205"/>
              <a:gd name="connsiteY6" fmla="*/ 1635845 h 5327650"/>
              <a:gd name="connsiteX7" fmla="*/ 4814847 w 6355205"/>
              <a:gd name="connsiteY7" fmla="*/ 2535560 h 5327650"/>
              <a:gd name="connsiteX8" fmla="*/ 4822343 w 6355205"/>
              <a:gd name="connsiteY8" fmla="*/ 2535560 h 5327650"/>
              <a:gd name="connsiteX9" fmla="*/ 5298317 w 6355205"/>
              <a:gd name="connsiteY9" fmla="*/ 1613538 h 5327650"/>
              <a:gd name="connsiteX10" fmla="*/ 4833586 w 6355205"/>
              <a:gd name="connsiteY10" fmla="*/ 713823 h 5327650"/>
              <a:gd name="connsiteX11" fmla="*/ 4811099 w 6355205"/>
              <a:gd name="connsiteY11" fmla="*/ 0 h 5327650"/>
              <a:gd name="connsiteX12" fmla="*/ 6355205 w 6355205"/>
              <a:gd name="connsiteY12" fmla="*/ 2687991 h 5327650"/>
              <a:gd name="connsiteX13" fmla="*/ 4803604 w 6355205"/>
              <a:gd name="connsiteY13" fmla="*/ 5327650 h 5327650"/>
              <a:gd name="connsiteX14" fmla="*/ 3394420 w 6355205"/>
              <a:gd name="connsiteY14" fmla="*/ 4041281 h 5327650"/>
              <a:gd name="connsiteX15" fmla="*/ 4443812 w 6355205"/>
              <a:gd name="connsiteY15" fmla="*/ 4041281 h 5327650"/>
              <a:gd name="connsiteX16" fmla="*/ 4518769 w 6355205"/>
              <a:gd name="connsiteY16" fmla="*/ 4405628 h 5327650"/>
              <a:gd name="connsiteX17" fmla="*/ 4829839 w 6355205"/>
              <a:gd name="connsiteY17" fmla="*/ 4565495 h 5327650"/>
              <a:gd name="connsiteX18" fmla="*/ 5294569 w 6355205"/>
              <a:gd name="connsiteY18" fmla="*/ 2907343 h 5327650"/>
              <a:gd name="connsiteX19" fmla="*/ 4814847 w 6355205"/>
              <a:gd name="connsiteY19" fmla="*/ 3197334 h 5327650"/>
              <a:gd name="connsiteX20" fmla="*/ 4428821 w 6355205"/>
              <a:gd name="connsiteY20" fmla="*/ 3249383 h 5327650"/>
              <a:gd name="connsiteX21" fmla="*/ 3319463 w 6355205"/>
              <a:gd name="connsiteY21" fmla="*/ 1844044 h 5327650"/>
              <a:gd name="connsiteX22" fmla="*/ 4811099 w 6355205"/>
              <a:gd name="connsiteY22" fmla="*/ 0 h 5327650"/>
              <a:gd name="connsiteX23" fmla="*/ 1513682 w 6355205"/>
              <a:gd name="connsiteY23" fmla="*/ 0 h 5327650"/>
              <a:gd name="connsiteX24" fmla="*/ 3027363 w 6355205"/>
              <a:gd name="connsiteY24" fmla="*/ 2647365 h 5327650"/>
              <a:gd name="connsiteX25" fmla="*/ 1513682 w 6355205"/>
              <a:gd name="connsiteY25" fmla="*/ 5324475 h 5327650"/>
              <a:gd name="connsiteX26" fmla="*/ 0 w 6355205"/>
              <a:gd name="connsiteY26" fmla="*/ 2647365 h 5327650"/>
              <a:gd name="connsiteX27" fmla="*/ 1513682 w 6355205"/>
              <a:gd name="connsiteY27" fmla="*/ 0 h 532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55205" h="5327650">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833586" y="713823"/>
                </a:moveTo>
                <a:cubicBezTo>
                  <a:pt x="4376351" y="713823"/>
                  <a:pt x="4376351" y="1316112"/>
                  <a:pt x="4376351" y="1635845"/>
                </a:cubicBezTo>
                <a:cubicBezTo>
                  <a:pt x="4376351" y="1955579"/>
                  <a:pt x="4380099" y="2528124"/>
                  <a:pt x="4814847" y="2535560"/>
                </a:cubicBezTo>
                <a:cubicBezTo>
                  <a:pt x="4814847" y="2535560"/>
                  <a:pt x="4822343" y="2535560"/>
                  <a:pt x="4822343" y="2535560"/>
                </a:cubicBezTo>
                <a:cubicBezTo>
                  <a:pt x="5272083" y="2535560"/>
                  <a:pt x="5298317" y="1933272"/>
                  <a:pt x="5298317" y="1613538"/>
                </a:cubicBezTo>
                <a:cubicBezTo>
                  <a:pt x="5298317" y="1286369"/>
                  <a:pt x="5283326" y="713823"/>
                  <a:pt x="4833586" y="713823"/>
                </a:cubicBezTo>
                <a:close/>
                <a:moveTo>
                  <a:pt x="4811099" y="0"/>
                </a:moveTo>
                <a:cubicBezTo>
                  <a:pt x="6362701" y="0"/>
                  <a:pt x="6355205" y="1230602"/>
                  <a:pt x="6355205" y="2687991"/>
                </a:cubicBezTo>
                <a:cubicBezTo>
                  <a:pt x="6355205" y="3966924"/>
                  <a:pt x="6332718" y="5327650"/>
                  <a:pt x="4803604" y="5327650"/>
                </a:cubicBezTo>
                <a:cubicBezTo>
                  <a:pt x="3896629" y="5327650"/>
                  <a:pt x="3371933" y="5022788"/>
                  <a:pt x="3394420" y="4041281"/>
                </a:cubicBezTo>
                <a:cubicBezTo>
                  <a:pt x="3394420" y="4041281"/>
                  <a:pt x="3394420" y="4041281"/>
                  <a:pt x="4443812" y="4041281"/>
                </a:cubicBezTo>
                <a:cubicBezTo>
                  <a:pt x="4443812" y="4175123"/>
                  <a:pt x="4458803" y="4308965"/>
                  <a:pt x="4518769" y="4405628"/>
                </a:cubicBezTo>
                <a:cubicBezTo>
                  <a:pt x="4578734" y="4502292"/>
                  <a:pt x="4672430" y="4565495"/>
                  <a:pt x="4829839" y="4565495"/>
                </a:cubicBezTo>
                <a:cubicBezTo>
                  <a:pt x="5354535" y="4565495"/>
                  <a:pt x="5294569" y="4141662"/>
                  <a:pt x="5294569" y="2907343"/>
                </a:cubicBezTo>
                <a:cubicBezTo>
                  <a:pt x="5152152" y="3048621"/>
                  <a:pt x="4994743" y="3141566"/>
                  <a:pt x="4814847" y="3197334"/>
                </a:cubicBezTo>
                <a:cubicBezTo>
                  <a:pt x="4694917" y="3234512"/>
                  <a:pt x="4563743" y="3249383"/>
                  <a:pt x="4428821" y="3249383"/>
                </a:cubicBezTo>
                <a:cubicBezTo>
                  <a:pt x="3626785" y="3249383"/>
                  <a:pt x="3319463" y="2535560"/>
                  <a:pt x="3319463" y="1844044"/>
                </a:cubicBezTo>
                <a:cubicBezTo>
                  <a:pt x="3319463" y="825358"/>
                  <a:pt x="3634281" y="0"/>
                  <a:pt x="4811099" y="0"/>
                </a:cubicBezTo>
                <a:close/>
                <a:moveTo>
                  <a:pt x="1513682" y="0"/>
                </a:moveTo>
                <a:cubicBezTo>
                  <a:pt x="2802559" y="0"/>
                  <a:pt x="3027363" y="661841"/>
                  <a:pt x="3027363" y="2647365"/>
                </a:cubicBezTo>
                <a:cubicBezTo>
                  <a:pt x="3027363" y="4275940"/>
                  <a:pt x="2922455"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19870256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10">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Bildplatzhalter 16">
            <a:extLst>
              <a:ext uri="{FF2B5EF4-FFF2-40B4-BE49-F238E27FC236}">
                <a16:creationId xmlns:a16="http://schemas.microsoft.com/office/drawing/2014/main" id="{532DFA9D-5800-4F7F-924A-442E4B53022B}"/>
              </a:ext>
            </a:extLst>
          </p:cNvPr>
          <p:cNvSpPr>
            <a:spLocks noGrp="1"/>
          </p:cNvSpPr>
          <p:nvPr>
            <p:ph type="pic" sz="quarter" idx="12"/>
          </p:nvPr>
        </p:nvSpPr>
        <p:spPr>
          <a:xfrm>
            <a:off x="6020518" y="765174"/>
            <a:ext cx="5858744" cy="5327650"/>
          </a:xfrm>
          <a:custGeom>
            <a:avLst/>
            <a:gdLst>
              <a:gd name="connsiteX0" fmla="*/ 4345063 w 5858744"/>
              <a:gd name="connsiteY0" fmla="*/ 758967 h 5327650"/>
              <a:gd name="connsiteX1" fmla="*/ 3887961 w 5858744"/>
              <a:gd name="connsiteY1" fmla="*/ 2663825 h 5327650"/>
              <a:gd name="connsiteX2" fmla="*/ 4345063 w 5858744"/>
              <a:gd name="connsiteY2" fmla="*/ 4568683 h 5327650"/>
              <a:gd name="connsiteX3" fmla="*/ 4802164 w 5858744"/>
              <a:gd name="connsiteY3" fmla="*/ 2663825 h 5327650"/>
              <a:gd name="connsiteX4" fmla="*/ 4345063 w 5858744"/>
              <a:gd name="connsiteY4" fmla="*/ 758967 h 5327650"/>
              <a:gd name="connsiteX5" fmla="*/ 1011810 w 5858744"/>
              <a:gd name="connsiteY5" fmla="*/ 82550 h 5327650"/>
              <a:gd name="connsiteX6" fmla="*/ 2016125 w 5858744"/>
              <a:gd name="connsiteY6" fmla="*/ 82550 h 5327650"/>
              <a:gd name="connsiteX7" fmla="*/ 2016125 w 5858744"/>
              <a:gd name="connsiteY7" fmla="*/ 5275263 h 5327650"/>
              <a:gd name="connsiteX8" fmla="*/ 884397 w 5858744"/>
              <a:gd name="connsiteY8" fmla="*/ 5275263 h 5327650"/>
              <a:gd name="connsiteX9" fmla="*/ 884397 w 5858744"/>
              <a:gd name="connsiteY9" fmla="*/ 1280296 h 5327650"/>
              <a:gd name="connsiteX10" fmla="*/ 0 w 5858744"/>
              <a:gd name="connsiteY10" fmla="*/ 1860571 h 5327650"/>
              <a:gd name="connsiteX11" fmla="*/ 0 w 5858744"/>
              <a:gd name="connsiteY11" fmla="*/ 886007 h 5327650"/>
              <a:gd name="connsiteX12" fmla="*/ 1011810 w 5858744"/>
              <a:gd name="connsiteY12" fmla="*/ 82550 h 5327650"/>
              <a:gd name="connsiteX13" fmla="*/ 4345063 w 5858744"/>
              <a:gd name="connsiteY13" fmla="*/ 0 h 5327650"/>
              <a:gd name="connsiteX14" fmla="*/ 5858744 w 5858744"/>
              <a:gd name="connsiteY14" fmla="*/ 2648943 h 5327650"/>
              <a:gd name="connsiteX15" fmla="*/ 4345063 w 5858744"/>
              <a:gd name="connsiteY15" fmla="*/ 5327650 h 5327650"/>
              <a:gd name="connsiteX16" fmla="*/ 2831381 w 5858744"/>
              <a:gd name="connsiteY16" fmla="*/ 2648943 h 5327650"/>
              <a:gd name="connsiteX17" fmla="*/ 4345063 w 5858744"/>
              <a:gd name="connsiteY17" fmla="*/ 0 h 532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58744" h="5327650">
                <a:moveTo>
                  <a:pt x="4345063" y="758967"/>
                </a:moveTo>
                <a:cubicBezTo>
                  <a:pt x="3895454" y="758967"/>
                  <a:pt x="3887961" y="1064042"/>
                  <a:pt x="3887961" y="2663825"/>
                </a:cubicBezTo>
                <a:cubicBezTo>
                  <a:pt x="3887961" y="4233845"/>
                  <a:pt x="3925428" y="4568683"/>
                  <a:pt x="4345063" y="4568683"/>
                </a:cubicBezTo>
                <a:cubicBezTo>
                  <a:pt x="4764697" y="4568683"/>
                  <a:pt x="4802164" y="4233845"/>
                  <a:pt x="4802164" y="2663825"/>
                </a:cubicBezTo>
                <a:cubicBezTo>
                  <a:pt x="4802164" y="1064042"/>
                  <a:pt x="4794671" y="758967"/>
                  <a:pt x="4345063" y="758967"/>
                </a:cubicBezTo>
                <a:close/>
                <a:moveTo>
                  <a:pt x="1011810" y="82550"/>
                </a:moveTo>
                <a:cubicBezTo>
                  <a:pt x="2016125" y="82550"/>
                  <a:pt x="2016125" y="82550"/>
                  <a:pt x="2016125" y="82550"/>
                </a:cubicBezTo>
                <a:cubicBezTo>
                  <a:pt x="2016125" y="5275263"/>
                  <a:pt x="2016125" y="5275263"/>
                  <a:pt x="2016125" y="5275263"/>
                </a:cubicBezTo>
                <a:cubicBezTo>
                  <a:pt x="884397" y="5275263"/>
                  <a:pt x="884397" y="5275263"/>
                  <a:pt x="884397" y="5275263"/>
                </a:cubicBezTo>
                <a:cubicBezTo>
                  <a:pt x="884397" y="1280296"/>
                  <a:pt x="884397" y="1280296"/>
                  <a:pt x="884397" y="1280296"/>
                </a:cubicBezTo>
                <a:cubicBezTo>
                  <a:pt x="614581" y="1503479"/>
                  <a:pt x="307291" y="1696904"/>
                  <a:pt x="0" y="1860571"/>
                </a:cubicBezTo>
                <a:lnTo>
                  <a:pt x="0" y="886007"/>
                </a:lnTo>
                <a:cubicBezTo>
                  <a:pt x="374745" y="677703"/>
                  <a:pt x="741994" y="432203"/>
                  <a:pt x="1011810" y="82550"/>
                </a:cubicBezTo>
                <a:close/>
                <a:moveTo>
                  <a:pt x="4345063" y="0"/>
                </a:moveTo>
                <a:cubicBezTo>
                  <a:pt x="5633940" y="0"/>
                  <a:pt x="5858744" y="662236"/>
                  <a:pt x="5858744" y="2648943"/>
                </a:cubicBezTo>
                <a:cubicBezTo>
                  <a:pt x="5858744" y="4278490"/>
                  <a:pt x="5753835" y="5327650"/>
                  <a:pt x="4345063" y="5327650"/>
                </a:cubicBezTo>
                <a:cubicBezTo>
                  <a:pt x="2936290" y="5327650"/>
                  <a:pt x="2831381" y="4278490"/>
                  <a:pt x="2831381" y="2648943"/>
                </a:cubicBezTo>
                <a:cubicBezTo>
                  <a:pt x="2831381" y="662236"/>
                  <a:pt x="3056185" y="0"/>
                  <a:pt x="4345063" y="0"/>
                </a:cubicBezTo>
                <a:close/>
              </a:path>
            </a:pathLst>
          </a:custGeom>
          <a:solidFill>
            <a:schemeClr val="bg1"/>
          </a:solidFill>
        </p:spPr>
        <p:txBody>
          <a:bodyPr wrap="square">
            <a:noAutofit/>
          </a:bodyPr>
          <a:lstStyle>
            <a:lvl1pPr>
              <a:defRPr sz="1200">
                <a:solidFill>
                  <a:schemeClr val="tx1"/>
                </a:solidFill>
              </a:defRPr>
            </a:lvl1pPr>
          </a:lstStyle>
          <a:p>
            <a:r>
              <a:rPr lang="de-DE"/>
              <a:t>Bild durch Klicken auf Symbol hinzufügen</a:t>
            </a:r>
          </a:p>
        </p:txBody>
      </p:sp>
    </p:spTree>
    <p:extLst>
      <p:ext uri="{BB962C8B-B14F-4D97-AF65-F5344CB8AC3E}">
        <p14:creationId xmlns:p14="http://schemas.microsoft.com/office/powerpoint/2010/main" val="17467032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chluss-Folie_Dual-Vortrag">
    <p:spTree>
      <p:nvGrpSpPr>
        <p:cNvPr id="1" name=""/>
        <p:cNvGrpSpPr/>
        <p:nvPr/>
      </p:nvGrpSpPr>
      <p:grpSpPr>
        <a:xfrm>
          <a:off x="0" y="0"/>
          <a:ext cx="0" cy="0"/>
          <a:chOff x="0" y="0"/>
          <a:chExt cx="0" cy="0"/>
        </a:xfrm>
      </p:grpSpPr>
      <p:sp>
        <p:nvSpPr>
          <p:cNvPr id="11" name="Freihandform: Form 10">
            <a:extLst>
              <a:ext uri="{FF2B5EF4-FFF2-40B4-BE49-F238E27FC236}">
                <a16:creationId xmlns:a16="http://schemas.microsoft.com/office/drawing/2014/main" id="{27A0CB72-7552-4FD5-81C9-8126891CC607}"/>
              </a:ext>
            </a:extLst>
          </p:cNvPr>
          <p:cNvSpPr/>
          <p:nvPr userDrawn="1"/>
        </p:nvSpPr>
        <p:spPr>
          <a:xfrm>
            <a:off x="5608325" y="0"/>
            <a:ext cx="4197412" cy="4165172"/>
          </a:xfrm>
          <a:custGeom>
            <a:avLst/>
            <a:gdLst>
              <a:gd name="connsiteX0" fmla="*/ 0 w 4197412"/>
              <a:gd name="connsiteY0" fmla="*/ 0 h 4165172"/>
              <a:gd name="connsiteX1" fmla="*/ 4197412 w 4197412"/>
              <a:gd name="connsiteY1" fmla="*/ 0 h 4165172"/>
              <a:gd name="connsiteX2" fmla="*/ 4197412 w 4197412"/>
              <a:gd name="connsiteY2" fmla="*/ 3598303 h 4165172"/>
              <a:gd name="connsiteX3" fmla="*/ 4197412 w 4197412"/>
              <a:gd name="connsiteY3" fmla="*/ 3948901 h 4165172"/>
              <a:gd name="connsiteX4" fmla="*/ 3877523 w 4197412"/>
              <a:gd name="connsiteY4" fmla="*/ 4165172 h 4165172"/>
              <a:gd name="connsiteX5" fmla="*/ 3152782 w 4197412"/>
              <a:gd name="connsiteY5" fmla="*/ 4165172 h 4165172"/>
              <a:gd name="connsiteX6" fmla="*/ 0 w 4197412"/>
              <a:gd name="connsiteY6" fmla="*/ 4165172 h 416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7412" h="4165172">
                <a:moveTo>
                  <a:pt x="0" y="0"/>
                </a:moveTo>
                <a:lnTo>
                  <a:pt x="4197412" y="0"/>
                </a:lnTo>
                <a:lnTo>
                  <a:pt x="4197412" y="3598303"/>
                </a:lnTo>
                <a:lnTo>
                  <a:pt x="4197412" y="3948901"/>
                </a:lnTo>
                <a:lnTo>
                  <a:pt x="3877523" y="4165172"/>
                </a:lnTo>
                <a:lnTo>
                  <a:pt x="3152782" y="4165172"/>
                </a:lnTo>
                <a:lnTo>
                  <a:pt x="0" y="41651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0" name="Textplatzhalter 9">
            <a:extLst>
              <a:ext uri="{FF2B5EF4-FFF2-40B4-BE49-F238E27FC236}">
                <a16:creationId xmlns:a16="http://schemas.microsoft.com/office/drawing/2014/main" id="{DE0024ED-F493-4039-9FFD-C79724436035}"/>
              </a:ext>
            </a:extLst>
          </p:cNvPr>
          <p:cNvSpPr>
            <a:spLocks noGrp="1"/>
          </p:cNvSpPr>
          <p:nvPr>
            <p:ph type="body" sz="quarter" idx="10" hasCustomPrompt="1"/>
          </p:nvPr>
        </p:nvSpPr>
        <p:spPr>
          <a:xfrm>
            <a:off x="5787935" y="4329066"/>
            <a:ext cx="2821227" cy="1052423"/>
          </a:xfrm>
        </p:spPr>
        <p:txBody>
          <a:bodyPr>
            <a:normAutofit/>
          </a:bodyPr>
          <a:lstStyle>
            <a:lvl1pPr>
              <a:spcBef>
                <a:spcPts val="400"/>
              </a:spcBef>
              <a:defRPr sz="10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
        <p:nvSpPr>
          <p:cNvPr id="3" name="Textplatzhalter 2">
            <a:extLst>
              <a:ext uri="{FF2B5EF4-FFF2-40B4-BE49-F238E27FC236}">
                <a16:creationId xmlns:a16="http://schemas.microsoft.com/office/drawing/2014/main" id="{90140C9C-A356-404D-B3DF-B72B0FD780E9}"/>
              </a:ext>
            </a:extLst>
          </p:cNvPr>
          <p:cNvSpPr>
            <a:spLocks noGrp="1"/>
          </p:cNvSpPr>
          <p:nvPr>
            <p:ph type="body" sz="quarter" idx="11" hasCustomPrompt="1"/>
          </p:nvPr>
        </p:nvSpPr>
        <p:spPr>
          <a:xfrm>
            <a:off x="719999" y="2911642"/>
            <a:ext cx="4528800" cy="1386205"/>
          </a:xfrm>
        </p:spPr>
        <p:txBody>
          <a:bodyPr/>
          <a:lstStyle>
            <a:lvl1pPr>
              <a:defRPr sz="2000"/>
            </a:lvl1pPr>
          </a:lstStyle>
          <a:p>
            <a:pPr lvl="0"/>
            <a:r>
              <a:rPr lang="de-DE" dirty="0"/>
              <a:t>Vielen Dank für Ihre Aufmerksamkeit</a:t>
            </a:r>
          </a:p>
        </p:txBody>
      </p:sp>
      <p:sp>
        <p:nvSpPr>
          <p:cNvPr id="20" name="Platzhalter für Fremdlogos">
            <a:extLst>
              <a:ext uri="{FF2B5EF4-FFF2-40B4-BE49-F238E27FC236}">
                <a16:creationId xmlns:a16="http://schemas.microsoft.com/office/drawing/2014/main" id="{A15A62B3-BDC3-4472-BC89-C7A2F64E2F1C}"/>
              </a:ext>
            </a:extLst>
          </p:cNvPr>
          <p:cNvSpPr>
            <a:spLocks noGrp="1"/>
          </p:cNvSpPr>
          <p:nvPr>
            <p:ph type="pic" sz="quarter" idx="16"/>
          </p:nvPr>
        </p:nvSpPr>
        <p:spPr>
          <a:xfrm>
            <a:off x="2056046"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18" name="Platzhalter für Fremdlogos 1">
            <a:extLst>
              <a:ext uri="{FF2B5EF4-FFF2-40B4-BE49-F238E27FC236}">
                <a16:creationId xmlns:a16="http://schemas.microsoft.com/office/drawing/2014/main" id="{CF92D11E-EBA9-4A24-945B-30F2B7BEC151}"/>
              </a:ext>
            </a:extLst>
          </p:cNvPr>
          <p:cNvSpPr>
            <a:spLocks noGrp="1"/>
          </p:cNvSpPr>
          <p:nvPr>
            <p:ph type="pic" sz="quarter" idx="15"/>
          </p:nvPr>
        </p:nvSpPr>
        <p:spPr>
          <a:xfrm>
            <a:off x="719999"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5" name="Inhaltsplatzhalter 4">
            <a:extLst>
              <a:ext uri="{FF2B5EF4-FFF2-40B4-BE49-F238E27FC236}">
                <a16:creationId xmlns:a16="http://schemas.microsoft.com/office/drawing/2014/main" id="{F953590F-B5E8-43B9-9661-84460CE5E8A2}"/>
              </a:ext>
            </a:extLst>
          </p:cNvPr>
          <p:cNvSpPr>
            <a:spLocks noGrp="1"/>
          </p:cNvSpPr>
          <p:nvPr>
            <p:ph sz="quarter" idx="18" hasCustomPrompt="1"/>
          </p:nvPr>
        </p:nvSpPr>
        <p:spPr>
          <a:xfrm>
            <a:off x="5803105" y="1920358"/>
            <a:ext cx="3764757" cy="652244"/>
          </a:xfrm>
        </p:spPr>
        <p:txBody>
          <a:bodyPr/>
          <a:lstStyle>
            <a:lvl1pPr>
              <a:defRPr sz="1200">
                <a:solidFill>
                  <a:schemeClr val="bg1"/>
                </a:solidFill>
              </a:defRPr>
            </a:lvl1pPr>
          </a:lstStyle>
          <a:p>
            <a:pPr lvl="0"/>
            <a:r>
              <a:rPr lang="de-DE" dirty="0"/>
              <a:t>Partneruni-Logo</a:t>
            </a:r>
          </a:p>
        </p:txBody>
      </p:sp>
      <p:sp>
        <p:nvSpPr>
          <p:cNvPr id="24" name="Textplatzhalter 9">
            <a:extLst>
              <a:ext uri="{FF2B5EF4-FFF2-40B4-BE49-F238E27FC236}">
                <a16:creationId xmlns:a16="http://schemas.microsoft.com/office/drawing/2014/main" id="{79497B39-64F5-4F0E-830C-E283423727BD}"/>
              </a:ext>
            </a:extLst>
          </p:cNvPr>
          <p:cNvSpPr>
            <a:spLocks noGrp="1"/>
          </p:cNvSpPr>
          <p:nvPr>
            <p:ph type="body" sz="quarter" idx="17" hasCustomPrompt="1"/>
          </p:nvPr>
        </p:nvSpPr>
        <p:spPr>
          <a:xfrm>
            <a:off x="5787935" y="5545383"/>
            <a:ext cx="2821227" cy="1052423"/>
          </a:xfrm>
        </p:spPr>
        <p:txBody>
          <a:bodyPr>
            <a:normAutofit/>
          </a:bodyPr>
          <a:lstStyle>
            <a:lvl1pPr>
              <a:spcBef>
                <a:spcPts val="400"/>
              </a:spcBef>
              <a:defRPr sz="10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Tree>
    <p:extLst>
      <p:ext uri="{BB962C8B-B14F-4D97-AF65-F5344CB8AC3E}">
        <p14:creationId xmlns:p14="http://schemas.microsoft.com/office/powerpoint/2010/main" val="36415868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hasCustomPrompt="1"/>
          </p:nvPr>
        </p:nvSpPr>
        <p:spPr/>
        <p:txBody>
          <a:bodyPr/>
          <a:lstStyle>
            <a:lvl1pPr>
              <a:lnSpc>
                <a:spcPct val="90000"/>
              </a:lnSpc>
              <a:defRPr/>
            </a:lvl1pPr>
          </a:lstStyle>
          <a:p>
            <a:r>
              <a:rPr lang="de-DE" dirty="0"/>
              <a:t>Agenda bearbeiten</a:t>
            </a:r>
          </a:p>
        </p:txBody>
      </p:sp>
      <p:sp>
        <p:nvSpPr>
          <p:cNvPr id="10" name="Textplatzhalter 9">
            <a:extLst>
              <a:ext uri="{FF2B5EF4-FFF2-40B4-BE49-F238E27FC236}">
                <a16:creationId xmlns:a16="http://schemas.microsoft.com/office/drawing/2014/main" id="{32E2A15C-36F2-4D8B-8A93-D9D64240FD88}"/>
              </a:ext>
            </a:extLst>
          </p:cNvPr>
          <p:cNvSpPr>
            <a:spLocks noGrp="1"/>
          </p:cNvSpPr>
          <p:nvPr>
            <p:ph type="body" sz="quarter" idx="13" hasCustomPrompt="1"/>
          </p:nvPr>
        </p:nvSpPr>
        <p:spPr>
          <a:xfrm>
            <a:off x="718801" y="1674000"/>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1</a:t>
            </a:r>
          </a:p>
        </p:txBody>
      </p:sp>
      <p:sp>
        <p:nvSpPr>
          <p:cNvPr id="11" name="Textplatzhalter 9">
            <a:extLst>
              <a:ext uri="{FF2B5EF4-FFF2-40B4-BE49-F238E27FC236}">
                <a16:creationId xmlns:a16="http://schemas.microsoft.com/office/drawing/2014/main" id="{247F7E03-1BC0-4352-B5D7-74FD71D1C7A3}"/>
              </a:ext>
            </a:extLst>
          </p:cNvPr>
          <p:cNvSpPr>
            <a:spLocks noGrp="1"/>
          </p:cNvSpPr>
          <p:nvPr>
            <p:ph type="body" sz="quarter" idx="14"/>
          </p:nvPr>
        </p:nvSpPr>
        <p:spPr>
          <a:xfrm>
            <a:off x="1388853" y="1674000"/>
            <a:ext cx="10083148" cy="454456"/>
          </a:xfrm>
        </p:spPr>
        <p:txBody>
          <a:bodyPr anchor="ctr"/>
          <a:lstStyle>
            <a:lvl1pPr>
              <a:spcBef>
                <a:spcPts val="0"/>
              </a:spcBef>
              <a:defRPr/>
            </a:lvl1pPr>
          </a:lstStyle>
          <a:p>
            <a:pPr lvl="0"/>
            <a:r>
              <a:rPr lang="de-DE"/>
              <a:t>Mastertextformat bearbeiten</a:t>
            </a:r>
          </a:p>
        </p:txBody>
      </p:sp>
      <p:sp>
        <p:nvSpPr>
          <p:cNvPr id="14" name="Textplatzhalter 9">
            <a:extLst>
              <a:ext uri="{FF2B5EF4-FFF2-40B4-BE49-F238E27FC236}">
                <a16:creationId xmlns:a16="http://schemas.microsoft.com/office/drawing/2014/main" id="{302EB242-6759-421D-A0C7-F4CF10139933}"/>
              </a:ext>
            </a:extLst>
          </p:cNvPr>
          <p:cNvSpPr>
            <a:spLocks noGrp="1"/>
          </p:cNvSpPr>
          <p:nvPr>
            <p:ph type="body" sz="quarter" idx="15" hasCustomPrompt="1"/>
          </p:nvPr>
        </p:nvSpPr>
        <p:spPr>
          <a:xfrm>
            <a:off x="718801" y="2272506"/>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2</a:t>
            </a:r>
          </a:p>
        </p:txBody>
      </p:sp>
      <p:sp>
        <p:nvSpPr>
          <p:cNvPr id="15" name="Textplatzhalter 9">
            <a:extLst>
              <a:ext uri="{FF2B5EF4-FFF2-40B4-BE49-F238E27FC236}">
                <a16:creationId xmlns:a16="http://schemas.microsoft.com/office/drawing/2014/main" id="{45C34F65-3A66-407A-AC33-9E9AC739BCE1}"/>
              </a:ext>
            </a:extLst>
          </p:cNvPr>
          <p:cNvSpPr>
            <a:spLocks noGrp="1"/>
          </p:cNvSpPr>
          <p:nvPr>
            <p:ph type="body" sz="quarter" idx="16"/>
          </p:nvPr>
        </p:nvSpPr>
        <p:spPr>
          <a:xfrm>
            <a:off x="1388853" y="2272506"/>
            <a:ext cx="10083148" cy="454456"/>
          </a:xfrm>
        </p:spPr>
        <p:txBody>
          <a:bodyPr anchor="ctr"/>
          <a:lstStyle>
            <a:lvl1pPr>
              <a:spcBef>
                <a:spcPts val="0"/>
              </a:spcBef>
              <a:defRPr/>
            </a:lvl1pPr>
          </a:lstStyle>
          <a:p>
            <a:pPr lvl="0"/>
            <a:r>
              <a:rPr lang="de-DE"/>
              <a:t>Mastertextformat bearbeiten</a:t>
            </a:r>
          </a:p>
        </p:txBody>
      </p:sp>
      <p:sp>
        <p:nvSpPr>
          <p:cNvPr id="18" name="Textplatzhalter 9">
            <a:extLst>
              <a:ext uri="{FF2B5EF4-FFF2-40B4-BE49-F238E27FC236}">
                <a16:creationId xmlns:a16="http://schemas.microsoft.com/office/drawing/2014/main" id="{71E94EB5-4533-46FD-B546-2C7D91C964A2}"/>
              </a:ext>
            </a:extLst>
          </p:cNvPr>
          <p:cNvSpPr>
            <a:spLocks noGrp="1"/>
          </p:cNvSpPr>
          <p:nvPr>
            <p:ph type="body" sz="quarter" idx="17" hasCustomPrompt="1"/>
          </p:nvPr>
        </p:nvSpPr>
        <p:spPr>
          <a:xfrm>
            <a:off x="718801" y="2871012"/>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3</a:t>
            </a:r>
          </a:p>
        </p:txBody>
      </p:sp>
      <p:sp>
        <p:nvSpPr>
          <p:cNvPr id="19" name="Textplatzhalter 9">
            <a:extLst>
              <a:ext uri="{FF2B5EF4-FFF2-40B4-BE49-F238E27FC236}">
                <a16:creationId xmlns:a16="http://schemas.microsoft.com/office/drawing/2014/main" id="{54A319A0-A115-4B70-A4D5-8BEBE4B718A0}"/>
              </a:ext>
            </a:extLst>
          </p:cNvPr>
          <p:cNvSpPr>
            <a:spLocks noGrp="1"/>
          </p:cNvSpPr>
          <p:nvPr>
            <p:ph type="body" sz="quarter" idx="18"/>
          </p:nvPr>
        </p:nvSpPr>
        <p:spPr>
          <a:xfrm>
            <a:off x="1388853" y="2871012"/>
            <a:ext cx="10083148" cy="454456"/>
          </a:xfrm>
        </p:spPr>
        <p:txBody>
          <a:bodyPr anchor="ctr"/>
          <a:lstStyle>
            <a:lvl1pPr>
              <a:spcBef>
                <a:spcPts val="0"/>
              </a:spcBef>
              <a:defRPr/>
            </a:lvl1pPr>
          </a:lstStyle>
          <a:p>
            <a:pPr lvl="0"/>
            <a:r>
              <a:rPr lang="de-DE"/>
              <a:t>Mastertextformat bearbeiten</a:t>
            </a:r>
          </a:p>
        </p:txBody>
      </p:sp>
      <p:sp>
        <p:nvSpPr>
          <p:cNvPr id="20" name="Textplatzhalter 9">
            <a:extLst>
              <a:ext uri="{FF2B5EF4-FFF2-40B4-BE49-F238E27FC236}">
                <a16:creationId xmlns:a16="http://schemas.microsoft.com/office/drawing/2014/main" id="{A011A145-9E4D-4A7A-BB4B-0532D386D494}"/>
              </a:ext>
            </a:extLst>
          </p:cNvPr>
          <p:cNvSpPr>
            <a:spLocks noGrp="1"/>
          </p:cNvSpPr>
          <p:nvPr>
            <p:ph type="body" sz="quarter" idx="19" hasCustomPrompt="1"/>
          </p:nvPr>
        </p:nvSpPr>
        <p:spPr>
          <a:xfrm>
            <a:off x="718801" y="3469518"/>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4</a:t>
            </a:r>
          </a:p>
        </p:txBody>
      </p:sp>
      <p:sp>
        <p:nvSpPr>
          <p:cNvPr id="21" name="Textplatzhalter 9">
            <a:extLst>
              <a:ext uri="{FF2B5EF4-FFF2-40B4-BE49-F238E27FC236}">
                <a16:creationId xmlns:a16="http://schemas.microsoft.com/office/drawing/2014/main" id="{A5CBB88F-7954-4F5B-9A12-2541D2F95E8C}"/>
              </a:ext>
            </a:extLst>
          </p:cNvPr>
          <p:cNvSpPr>
            <a:spLocks noGrp="1"/>
          </p:cNvSpPr>
          <p:nvPr>
            <p:ph type="body" sz="quarter" idx="20"/>
          </p:nvPr>
        </p:nvSpPr>
        <p:spPr>
          <a:xfrm>
            <a:off x="1388853" y="3469518"/>
            <a:ext cx="10083148" cy="454456"/>
          </a:xfrm>
        </p:spPr>
        <p:txBody>
          <a:bodyPr anchor="ctr"/>
          <a:lstStyle>
            <a:lvl1pPr>
              <a:spcBef>
                <a:spcPts val="0"/>
              </a:spcBef>
              <a:defRPr/>
            </a:lvl1pPr>
          </a:lstStyle>
          <a:p>
            <a:pPr lvl="0"/>
            <a:r>
              <a:rPr lang="de-DE"/>
              <a:t>Mastertextformat bearbeiten</a:t>
            </a:r>
          </a:p>
        </p:txBody>
      </p:sp>
      <p:sp>
        <p:nvSpPr>
          <p:cNvPr id="22" name="Textplatzhalter 9">
            <a:extLst>
              <a:ext uri="{FF2B5EF4-FFF2-40B4-BE49-F238E27FC236}">
                <a16:creationId xmlns:a16="http://schemas.microsoft.com/office/drawing/2014/main" id="{F35F7BDD-A9F3-4153-B660-5242A2169CEA}"/>
              </a:ext>
            </a:extLst>
          </p:cNvPr>
          <p:cNvSpPr>
            <a:spLocks noGrp="1"/>
          </p:cNvSpPr>
          <p:nvPr>
            <p:ph type="body" sz="quarter" idx="21" hasCustomPrompt="1"/>
          </p:nvPr>
        </p:nvSpPr>
        <p:spPr>
          <a:xfrm>
            <a:off x="718801" y="4068024"/>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5</a:t>
            </a:r>
          </a:p>
        </p:txBody>
      </p:sp>
      <p:sp>
        <p:nvSpPr>
          <p:cNvPr id="23" name="Textplatzhalter 9">
            <a:extLst>
              <a:ext uri="{FF2B5EF4-FFF2-40B4-BE49-F238E27FC236}">
                <a16:creationId xmlns:a16="http://schemas.microsoft.com/office/drawing/2014/main" id="{FC048C23-9126-42E7-82B5-97EB2F721A5F}"/>
              </a:ext>
            </a:extLst>
          </p:cNvPr>
          <p:cNvSpPr>
            <a:spLocks noGrp="1"/>
          </p:cNvSpPr>
          <p:nvPr>
            <p:ph type="body" sz="quarter" idx="22"/>
          </p:nvPr>
        </p:nvSpPr>
        <p:spPr>
          <a:xfrm>
            <a:off x="1388853" y="4068024"/>
            <a:ext cx="10083148" cy="454456"/>
          </a:xfrm>
        </p:spPr>
        <p:txBody>
          <a:bodyPr anchor="ctr"/>
          <a:lstStyle>
            <a:lvl1pPr>
              <a:spcBef>
                <a:spcPts val="0"/>
              </a:spcBef>
              <a:defRPr/>
            </a:lvl1pPr>
          </a:lstStyle>
          <a:p>
            <a:pPr lvl="0"/>
            <a:r>
              <a:rPr lang="de-DE"/>
              <a:t>Mastertextformat bearbeiten</a:t>
            </a:r>
          </a:p>
        </p:txBody>
      </p:sp>
      <p:sp>
        <p:nvSpPr>
          <p:cNvPr id="24" name="Textplatzhalter 9">
            <a:extLst>
              <a:ext uri="{FF2B5EF4-FFF2-40B4-BE49-F238E27FC236}">
                <a16:creationId xmlns:a16="http://schemas.microsoft.com/office/drawing/2014/main" id="{A1B91F1B-2C4C-4212-9298-1121AC51EA84}"/>
              </a:ext>
            </a:extLst>
          </p:cNvPr>
          <p:cNvSpPr>
            <a:spLocks noGrp="1"/>
          </p:cNvSpPr>
          <p:nvPr>
            <p:ph type="body" sz="quarter" idx="23" hasCustomPrompt="1"/>
          </p:nvPr>
        </p:nvSpPr>
        <p:spPr>
          <a:xfrm>
            <a:off x="718801" y="4666530"/>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6</a:t>
            </a:r>
          </a:p>
        </p:txBody>
      </p:sp>
      <p:sp>
        <p:nvSpPr>
          <p:cNvPr id="25" name="Textplatzhalter 9">
            <a:extLst>
              <a:ext uri="{FF2B5EF4-FFF2-40B4-BE49-F238E27FC236}">
                <a16:creationId xmlns:a16="http://schemas.microsoft.com/office/drawing/2014/main" id="{FF2F1C85-70FA-41E4-AA76-051C378C205D}"/>
              </a:ext>
            </a:extLst>
          </p:cNvPr>
          <p:cNvSpPr>
            <a:spLocks noGrp="1"/>
          </p:cNvSpPr>
          <p:nvPr>
            <p:ph type="body" sz="quarter" idx="24"/>
          </p:nvPr>
        </p:nvSpPr>
        <p:spPr>
          <a:xfrm>
            <a:off x="1388853" y="4666530"/>
            <a:ext cx="10083148" cy="454456"/>
          </a:xfrm>
        </p:spPr>
        <p:txBody>
          <a:bodyPr anchor="ctr"/>
          <a:lstStyle>
            <a:lvl1pPr>
              <a:spcBef>
                <a:spcPts val="0"/>
              </a:spcBef>
              <a:defRPr/>
            </a:lvl1pPr>
          </a:lstStyle>
          <a:p>
            <a:pPr lvl="0"/>
            <a:r>
              <a:rPr lang="de-DE"/>
              <a:t>Mastertextformat bearbeiten</a:t>
            </a:r>
          </a:p>
        </p:txBody>
      </p:sp>
      <p:sp>
        <p:nvSpPr>
          <p:cNvPr id="26" name="Textplatzhalter 9">
            <a:extLst>
              <a:ext uri="{FF2B5EF4-FFF2-40B4-BE49-F238E27FC236}">
                <a16:creationId xmlns:a16="http://schemas.microsoft.com/office/drawing/2014/main" id="{FEAF962C-F9F1-4077-883E-342B185C229E}"/>
              </a:ext>
            </a:extLst>
          </p:cNvPr>
          <p:cNvSpPr>
            <a:spLocks noGrp="1"/>
          </p:cNvSpPr>
          <p:nvPr>
            <p:ph type="body" sz="quarter" idx="25" hasCustomPrompt="1"/>
          </p:nvPr>
        </p:nvSpPr>
        <p:spPr>
          <a:xfrm>
            <a:off x="718801" y="5265036"/>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7</a:t>
            </a:r>
          </a:p>
        </p:txBody>
      </p:sp>
      <p:sp>
        <p:nvSpPr>
          <p:cNvPr id="27" name="Textplatzhalter 9">
            <a:extLst>
              <a:ext uri="{FF2B5EF4-FFF2-40B4-BE49-F238E27FC236}">
                <a16:creationId xmlns:a16="http://schemas.microsoft.com/office/drawing/2014/main" id="{6E1706DB-CE29-4A10-903E-B98EFF5F7D5F}"/>
              </a:ext>
            </a:extLst>
          </p:cNvPr>
          <p:cNvSpPr>
            <a:spLocks noGrp="1"/>
          </p:cNvSpPr>
          <p:nvPr>
            <p:ph type="body" sz="quarter" idx="26"/>
          </p:nvPr>
        </p:nvSpPr>
        <p:spPr>
          <a:xfrm>
            <a:off x="1388853" y="5265036"/>
            <a:ext cx="10083148" cy="454456"/>
          </a:xfrm>
        </p:spPr>
        <p:txBody>
          <a:bodyPr anchor="ctr"/>
          <a:lstStyle>
            <a:lvl1pPr>
              <a:spcBef>
                <a:spcPts val="0"/>
              </a:spcBef>
              <a:defRPr/>
            </a:lvl1pPr>
          </a:lstStyle>
          <a:p>
            <a:pPr lvl="0"/>
            <a:r>
              <a:rPr lang="de-DE"/>
              <a:t>Mastertextformat bearbeiten</a:t>
            </a:r>
          </a:p>
        </p:txBody>
      </p:sp>
      <p:sp>
        <p:nvSpPr>
          <p:cNvPr id="28" name="Textplatzhalter 9">
            <a:extLst>
              <a:ext uri="{FF2B5EF4-FFF2-40B4-BE49-F238E27FC236}">
                <a16:creationId xmlns:a16="http://schemas.microsoft.com/office/drawing/2014/main" id="{660CFC27-004E-40B1-907C-BD2C10998D97}"/>
              </a:ext>
            </a:extLst>
          </p:cNvPr>
          <p:cNvSpPr>
            <a:spLocks noGrp="1"/>
          </p:cNvSpPr>
          <p:nvPr>
            <p:ph type="body" sz="quarter" idx="27" hasCustomPrompt="1"/>
          </p:nvPr>
        </p:nvSpPr>
        <p:spPr>
          <a:xfrm>
            <a:off x="718801" y="5863545"/>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8</a:t>
            </a:r>
          </a:p>
        </p:txBody>
      </p:sp>
      <p:sp>
        <p:nvSpPr>
          <p:cNvPr id="29" name="Textplatzhalter 9">
            <a:extLst>
              <a:ext uri="{FF2B5EF4-FFF2-40B4-BE49-F238E27FC236}">
                <a16:creationId xmlns:a16="http://schemas.microsoft.com/office/drawing/2014/main" id="{600778BA-EA2B-4461-92EE-2515F92A6CC3}"/>
              </a:ext>
            </a:extLst>
          </p:cNvPr>
          <p:cNvSpPr>
            <a:spLocks noGrp="1"/>
          </p:cNvSpPr>
          <p:nvPr>
            <p:ph type="body" sz="quarter" idx="28"/>
          </p:nvPr>
        </p:nvSpPr>
        <p:spPr>
          <a:xfrm>
            <a:off x="1388853" y="5863545"/>
            <a:ext cx="10083148" cy="454456"/>
          </a:xfrm>
        </p:spPr>
        <p:txBody>
          <a:bodyPr anchor="ctr"/>
          <a:lstStyle>
            <a:lvl1pPr>
              <a:spcBef>
                <a:spcPts val="0"/>
              </a:spcBef>
              <a:defRPr/>
            </a:lvl1pPr>
          </a:lstStyle>
          <a:p>
            <a:pPr lvl="0"/>
            <a:r>
              <a:rPr lang="de-DE"/>
              <a:t>Mastertextformat bearbeiten</a:t>
            </a:r>
          </a:p>
        </p:txBody>
      </p:sp>
      <p:sp>
        <p:nvSpPr>
          <p:cNvPr id="7" name="Fußzeilenplatzhalter 6">
            <a:extLst>
              <a:ext uri="{FF2B5EF4-FFF2-40B4-BE49-F238E27FC236}">
                <a16:creationId xmlns:a16="http://schemas.microsoft.com/office/drawing/2014/main" id="{438B0277-B24A-455C-B618-B1CC535BB072}"/>
              </a:ext>
            </a:extLst>
          </p:cNvPr>
          <p:cNvSpPr>
            <a:spLocks noGrp="1"/>
          </p:cNvSpPr>
          <p:nvPr>
            <p:ph type="ftr" sz="quarter" idx="30"/>
          </p:nvPr>
        </p:nvSpPr>
        <p:spPr/>
        <p:txBody>
          <a:bodyPr/>
          <a:lstStyle/>
          <a:p>
            <a:r>
              <a:rPr lang="de-DE" dirty="0"/>
              <a:t>|    Fußzeile Universität Augsburg</a:t>
            </a:r>
          </a:p>
        </p:txBody>
      </p:sp>
      <p:sp>
        <p:nvSpPr>
          <p:cNvPr id="8" name="Foliennummernplatzhalter 7">
            <a:extLst>
              <a:ext uri="{FF2B5EF4-FFF2-40B4-BE49-F238E27FC236}">
                <a16:creationId xmlns:a16="http://schemas.microsoft.com/office/drawing/2014/main" id="{394A83BA-0D79-41BA-AB81-54F0ECD7ADEA}"/>
              </a:ext>
            </a:extLst>
          </p:cNvPr>
          <p:cNvSpPr>
            <a:spLocks noGrp="1"/>
          </p:cNvSpPr>
          <p:nvPr>
            <p:ph type="sldNum" sz="quarter" idx="31"/>
          </p:nvPr>
        </p:nvSpPr>
        <p:spPr/>
        <p:txBody>
          <a:bodyPr/>
          <a:lstStyle/>
          <a:p>
            <a:fld id="{6567D7EC-8799-48C5-898A-08E264972062}" type="slidenum">
              <a:rPr lang="de-DE" smtClean="0"/>
              <a:pPr/>
              <a:t>‹Nr.›</a:t>
            </a:fld>
            <a:endParaRPr lang="de-DE" dirty="0"/>
          </a:p>
        </p:txBody>
      </p:sp>
      <p:cxnSp>
        <p:nvCxnSpPr>
          <p:cNvPr id="30" name="Gerader Verbinder 29">
            <a:extLst>
              <a:ext uri="{FF2B5EF4-FFF2-40B4-BE49-F238E27FC236}">
                <a16:creationId xmlns:a16="http://schemas.microsoft.com/office/drawing/2014/main" id="{C33E0BAB-92C8-487C-922B-2967EA55C038}"/>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Datumsplatzhalter 3">
            <a:extLst>
              <a:ext uri="{FF2B5EF4-FFF2-40B4-BE49-F238E27FC236}">
                <a16:creationId xmlns:a16="http://schemas.microsoft.com/office/drawing/2014/main" id="{66360A99-472B-4D06-B603-972AA0A2C9BA}"/>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9722707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p:txBody>
          <a:bodyPr/>
          <a:lstStyle>
            <a:lvl5pPr>
              <a:spcBef>
                <a:spcPts val="2400"/>
              </a:spcBef>
              <a:defRPr/>
            </a:lvl5pPr>
          </a:lstStyle>
          <a:p>
            <a:pPr lvl="0"/>
            <a:r>
              <a:rPr lang="de-DE"/>
              <a:t>Mastertextformat bearbeit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dirty="0"/>
              <a:t>|    Fußzeile Universität Augsburg</a:t>
            </a:r>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93610209-CCED-4DF0-998C-B1F27407DD27}"/>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4354573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4" name="Inhaltsplatzhalter 3">
            <a:extLst>
              <a:ext uri="{FF2B5EF4-FFF2-40B4-BE49-F238E27FC236}">
                <a16:creationId xmlns:a16="http://schemas.microsoft.com/office/drawing/2014/main" id="{121B25B6-EA2C-412E-A643-20DC8008DAE3}"/>
              </a:ext>
            </a:extLst>
          </p:cNvPr>
          <p:cNvSpPr>
            <a:spLocks noGrp="1"/>
          </p:cNvSpPr>
          <p:nvPr>
            <p:ph sz="half" idx="2"/>
          </p:nvPr>
        </p:nvSpPr>
        <p:spPr>
          <a:xfrm>
            <a:off x="6277800" y="1674000"/>
            <a:ext cx="5194800"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6" name="Fußzeilenplatzhalter 5">
            <a:extLst>
              <a:ext uri="{FF2B5EF4-FFF2-40B4-BE49-F238E27FC236}">
                <a16:creationId xmlns:a16="http://schemas.microsoft.com/office/drawing/2014/main" id="{39328F92-46E9-44F4-AACE-AC3B5106AD4A}"/>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3F388D70-D393-490E-823B-019BFCD2A8AB}"/>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BEF240D4-D025-4F47-AD9B-871B6AE1E33B}"/>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Datumsplatzhalter 3">
            <a:extLst>
              <a:ext uri="{FF2B5EF4-FFF2-40B4-BE49-F238E27FC236}">
                <a16:creationId xmlns:a16="http://schemas.microsoft.com/office/drawing/2014/main" id="{A0B86752-A11F-4C28-964F-F3236D815097}"/>
              </a:ext>
            </a:extLst>
          </p:cNvPr>
          <p:cNvSpPr>
            <a:spLocks noGrp="1"/>
          </p:cNvSpPr>
          <p:nvPr>
            <p:ph type="dt" sz="half" idx="17"/>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6431102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Inhalte">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a:xfrm>
            <a:off x="719999" y="1674000"/>
            <a:ext cx="3344400" cy="4644000"/>
          </a:xfrm>
        </p:spPr>
        <p:txBody>
          <a:bodyPr/>
          <a:lstStyle>
            <a:lvl5pPr>
              <a:spcBef>
                <a:spcPts val="2400"/>
              </a:spcBef>
              <a:defRPr/>
            </a:lvl5pPr>
          </a:lstStyle>
          <a:p>
            <a:pPr lvl="0"/>
            <a:r>
              <a:rPr lang="de-DE"/>
              <a:t>Mastertextformat bearbeiten</a:t>
            </a:r>
          </a:p>
        </p:txBody>
      </p:sp>
      <p:sp>
        <p:nvSpPr>
          <p:cNvPr id="13" name="Inhaltsplatzhalter 2">
            <a:extLst>
              <a:ext uri="{FF2B5EF4-FFF2-40B4-BE49-F238E27FC236}">
                <a16:creationId xmlns:a16="http://schemas.microsoft.com/office/drawing/2014/main" id="{C1F0A7B3-7902-4E64-A96A-2B8FD953AE80}"/>
              </a:ext>
            </a:extLst>
          </p:cNvPr>
          <p:cNvSpPr>
            <a:spLocks noGrp="1"/>
          </p:cNvSpPr>
          <p:nvPr>
            <p:ph idx="17"/>
          </p:nvPr>
        </p:nvSpPr>
        <p:spPr>
          <a:xfrm>
            <a:off x="4424399" y="1674000"/>
            <a:ext cx="3344400" cy="4644000"/>
          </a:xfrm>
        </p:spPr>
        <p:txBody>
          <a:bodyPr/>
          <a:lstStyle>
            <a:lvl5pPr>
              <a:spcBef>
                <a:spcPts val="2400"/>
              </a:spcBef>
              <a:defRPr/>
            </a:lvl5pPr>
          </a:lstStyle>
          <a:p>
            <a:pPr lvl="0"/>
            <a:r>
              <a:rPr lang="de-DE"/>
              <a:t>Mastertextformat bearbeiten</a:t>
            </a:r>
          </a:p>
        </p:txBody>
      </p:sp>
      <p:sp>
        <p:nvSpPr>
          <p:cNvPr id="15" name="Inhaltsplatzhalter 2">
            <a:extLst>
              <a:ext uri="{FF2B5EF4-FFF2-40B4-BE49-F238E27FC236}">
                <a16:creationId xmlns:a16="http://schemas.microsoft.com/office/drawing/2014/main" id="{EB645276-BF98-443B-8257-0168D878217E}"/>
              </a:ext>
            </a:extLst>
          </p:cNvPr>
          <p:cNvSpPr>
            <a:spLocks noGrp="1"/>
          </p:cNvSpPr>
          <p:nvPr>
            <p:ph idx="18"/>
          </p:nvPr>
        </p:nvSpPr>
        <p:spPr>
          <a:xfrm>
            <a:off x="8128799" y="1674000"/>
            <a:ext cx="3344400" cy="4644000"/>
          </a:xfrm>
        </p:spPr>
        <p:txBody>
          <a:bodyPr/>
          <a:lstStyle>
            <a:lvl5pPr>
              <a:spcBef>
                <a:spcPts val="2400"/>
              </a:spcBef>
              <a:defRPr/>
            </a:lvl5pPr>
          </a:lstStyle>
          <a:p>
            <a:pPr lvl="0"/>
            <a:r>
              <a:rPr lang="de-DE"/>
              <a:t>Mastertextformat bearbeiten</a:t>
            </a:r>
          </a:p>
        </p:txBody>
      </p:sp>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5FA93747-F558-41F7-A8CE-1CAD320F6A0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752797DA-69D6-4C88-892F-87081E4BD587}"/>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56942773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image" Target="../media/image2.sv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5B002517-676E-406E-9CC8-F34071CE22D1}"/>
              </a:ext>
            </a:extLst>
          </p:cNvPr>
          <p:cNvSpPr>
            <a:spLocks noGrp="1"/>
          </p:cNvSpPr>
          <p:nvPr>
            <p:ph type="sldNum" sz="quarter" idx="4"/>
          </p:nvPr>
        </p:nvSpPr>
        <p:spPr>
          <a:xfrm>
            <a:off x="720001" y="6500393"/>
            <a:ext cx="319318" cy="217417"/>
          </a:xfrm>
          <a:prstGeom prst="rect">
            <a:avLst/>
          </a:prstGeom>
        </p:spPr>
        <p:txBody>
          <a:bodyPr vert="horz" lIns="0" tIns="0" rIns="0" bIns="0" rtlCol="0" anchor="b"/>
          <a:lstStyle>
            <a:lvl1pPr algn="l">
              <a:defRPr sz="800" b="1">
                <a:solidFill>
                  <a:schemeClr val="tx1"/>
                </a:solidFill>
                <a:latin typeface="Arial" panose="020B0604020202020204" pitchFamily="34" charset="0"/>
                <a:cs typeface="Arial" panose="020B0604020202020204" pitchFamily="34" charset="0"/>
              </a:defRPr>
            </a:lvl1pPr>
          </a:lstStyle>
          <a:p>
            <a:fld id="{6567D7EC-8799-48C5-898A-08E264972062}" type="slidenum">
              <a:rPr lang="de-DE" smtClean="0"/>
              <a:pPr/>
              <a:t>‹Nr.›</a:t>
            </a:fld>
            <a:endParaRPr lang="de-DE" dirty="0"/>
          </a:p>
        </p:txBody>
      </p:sp>
      <p:sp>
        <p:nvSpPr>
          <p:cNvPr id="4" name="Datumsplatzhalter 3">
            <a:extLst>
              <a:ext uri="{FF2B5EF4-FFF2-40B4-BE49-F238E27FC236}">
                <a16:creationId xmlns:a16="http://schemas.microsoft.com/office/drawing/2014/main" id="{CC50694B-33D5-45A5-B9F0-605F670D5E3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
        <p:nvSpPr>
          <p:cNvPr id="5" name="Fußzeilenplatzhalter 4">
            <a:extLst>
              <a:ext uri="{FF2B5EF4-FFF2-40B4-BE49-F238E27FC236}">
                <a16:creationId xmlns:a16="http://schemas.microsoft.com/office/drawing/2014/main" id="{407C29D3-2D73-4F49-B56E-D32513508EAD}"/>
              </a:ext>
            </a:extLst>
          </p:cNvPr>
          <p:cNvSpPr>
            <a:spLocks noGrp="1"/>
          </p:cNvSpPr>
          <p:nvPr>
            <p:ph type="ftr" sz="quarter" idx="3"/>
          </p:nvPr>
        </p:nvSpPr>
        <p:spPr>
          <a:xfrm>
            <a:off x="1785866" y="6500393"/>
            <a:ext cx="7296537"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Seminar Digitale Ethik - Hackerethik</a:t>
            </a:r>
          </a:p>
        </p:txBody>
      </p:sp>
      <p:sp>
        <p:nvSpPr>
          <p:cNvPr id="3" name="Textplatzhalter 2">
            <a:extLst>
              <a:ext uri="{FF2B5EF4-FFF2-40B4-BE49-F238E27FC236}">
                <a16:creationId xmlns:a16="http://schemas.microsoft.com/office/drawing/2014/main" id="{4F108140-EA1D-4506-BABD-AF3485301DFC}"/>
              </a:ext>
            </a:extLst>
          </p:cNvPr>
          <p:cNvSpPr>
            <a:spLocks noGrp="1"/>
          </p:cNvSpPr>
          <p:nvPr>
            <p:ph type="body" idx="1"/>
          </p:nvPr>
        </p:nvSpPr>
        <p:spPr>
          <a:xfrm>
            <a:off x="719999" y="1674000"/>
            <a:ext cx="10753200" cy="4644000"/>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platzhalter 1">
            <a:extLst>
              <a:ext uri="{FF2B5EF4-FFF2-40B4-BE49-F238E27FC236}">
                <a16:creationId xmlns:a16="http://schemas.microsoft.com/office/drawing/2014/main" id="{E0695CCD-AB97-47A6-B356-2E5EB2D333F9}"/>
              </a:ext>
            </a:extLst>
          </p:cNvPr>
          <p:cNvSpPr>
            <a:spLocks noGrp="1"/>
          </p:cNvSpPr>
          <p:nvPr>
            <p:ph type="title"/>
          </p:nvPr>
        </p:nvSpPr>
        <p:spPr>
          <a:xfrm>
            <a:off x="719400" y="0"/>
            <a:ext cx="10753200" cy="1017917"/>
          </a:xfrm>
          <a:prstGeom prst="rect">
            <a:avLst/>
          </a:prstGeom>
        </p:spPr>
        <p:txBody>
          <a:bodyPr vert="horz" lIns="0" tIns="0" rIns="0" bIns="0" rtlCol="0" anchor="b">
            <a:noAutofit/>
          </a:bodyPr>
          <a:lstStyle/>
          <a:p>
            <a:r>
              <a:rPr lang="de-DE" dirty="0"/>
              <a:t>Mastertitelformat bearbeiten</a:t>
            </a:r>
          </a:p>
        </p:txBody>
      </p:sp>
      <p:sp>
        <p:nvSpPr>
          <p:cNvPr id="27" name="Farbakzent links">
            <a:extLst>
              <a:ext uri="{FF2B5EF4-FFF2-40B4-BE49-F238E27FC236}">
                <a16:creationId xmlns:a16="http://schemas.microsoft.com/office/drawing/2014/main" id="{9D9C0A71-6028-48D4-B0A9-8857E5EE332A}"/>
              </a:ext>
            </a:extLst>
          </p:cNvPr>
          <p:cNvSpPr/>
          <p:nvPr userDrawn="1"/>
        </p:nvSpPr>
        <p:spPr>
          <a:xfrm>
            <a:off x="1" y="0"/>
            <a:ext cx="231229" cy="2644002"/>
          </a:xfrm>
          <a:custGeom>
            <a:avLst/>
            <a:gdLst>
              <a:gd name="connsiteX0" fmla="*/ 0 w 231229"/>
              <a:gd name="connsiteY0" fmla="*/ 0 h 2644002"/>
              <a:gd name="connsiteX1" fmla="*/ 231229 w 231229"/>
              <a:gd name="connsiteY1" fmla="*/ 0 h 2644002"/>
              <a:gd name="connsiteX2" fmla="*/ 231229 w 231229"/>
              <a:gd name="connsiteY2" fmla="*/ 427848 h 2644002"/>
              <a:gd name="connsiteX3" fmla="*/ 231229 w 231229"/>
              <a:gd name="connsiteY3" fmla="*/ 1100610 h 2644002"/>
              <a:gd name="connsiteX4" fmla="*/ 231229 w 231229"/>
              <a:gd name="connsiteY4" fmla="*/ 2499514 h 2644002"/>
              <a:gd name="connsiteX5" fmla="*/ 0 w 231229"/>
              <a:gd name="connsiteY5" fmla="*/ 2644002 h 2644002"/>
              <a:gd name="connsiteX6" fmla="*/ 0 w 231229"/>
              <a:gd name="connsiteY6" fmla="*/ 1100610 h 2644002"/>
              <a:gd name="connsiteX7" fmla="*/ 0 w 231229"/>
              <a:gd name="connsiteY7" fmla="*/ 427848 h 2644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229" h="2644002">
                <a:moveTo>
                  <a:pt x="0" y="0"/>
                </a:moveTo>
                <a:lnTo>
                  <a:pt x="231229" y="0"/>
                </a:lnTo>
                <a:lnTo>
                  <a:pt x="231229" y="427848"/>
                </a:lnTo>
                <a:lnTo>
                  <a:pt x="231229" y="1100610"/>
                </a:lnTo>
                <a:lnTo>
                  <a:pt x="231229" y="2499514"/>
                </a:lnTo>
                <a:lnTo>
                  <a:pt x="0" y="2644002"/>
                </a:lnTo>
                <a:lnTo>
                  <a:pt x="0" y="1100610"/>
                </a:lnTo>
                <a:lnTo>
                  <a:pt x="0" y="427848"/>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Grafik 7">
            <a:extLst>
              <a:ext uri="{FF2B5EF4-FFF2-40B4-BE49-F238E27FC236}">
                <a16:creationId xmlns:a16="http://schemas.microsoft.com/office/drawing/2014/main" id="{40789B94-3BA2-4579-B5BA-A91701BC21A2}"/>
              </a:ext>
            </a:extLst>
          </p:cNvPr>
          <p:cNvPicPr>
            <a:picLocks noChangeAspect="1"/>
          </p:cNvPicPr>
          <p:nvPr userDrawn="1"/>
        </p:nvPicPr>
        <p:blipFill>
          <a:blip r:embed="rId50" cstate="screen">
            <a:extLst>
              <a:ext uri="{28A0092B-C50C-407E-A947-70E740481C1C}">
                <a14:useLocalDpi xmlns:a14="http://schemas.microsoft.com/office/drawing/2010/main"/>
              </a:ext>
              <a:ext uri="{96DAC541-7B7A-43D3-8B79-37D633B846F1}">
                <asvg:svgBlip xmlns:asvg="http://schemas.microsoft.com/office/drawing/2016/SVG/main" r:embed="rId51"/>
              </a:ext>
            </a:extLst>
          </a:blip>
          <a:stretch>
            <a:fillRect/>
          </a:stretch>
        </p:blipFill>
        <p:spPr>
          <a:xfrm>
            <a:off x="10965221" y="6411885"/>
            <a:ext cx="507978" cy="305925"/>
          </a:xfrm>
          <a:prstGeom prst="rect">
            <a:avLst/>
          </a:prstGeom>
        </p:spPr>
      </p:pic>
    </p:spTree>
    <p:extLst>
      <p:ext uri="{BB962C8B-B14F-4D97-AF65-F5344CB8AC3E}">
        <p14:creationId xmlns:p14="http://schemas.microsoft.com/office/powerpoint/2010/main" val="902298323"/>
      </p:ext>
    </p:extLst>
  </p:cSld>
  <p:clrMap bg1="lt1" tx1="dk1" bg2="lt2" tx2="dk2" accent1="accent1" accent2="accent2" accent3="accent3" accent4="accent4" accent5="accent5" accent6="accent6" hlink="hlink" folHlink="folHlink"/>
  <p:sldLayoutIdLst>
    <p:sldLayoutId id="2147483694" r:id="rId1"/>
    <p:sldLayoutId id="2147483717" r:id="rId2"/>
    <p:sldLayoutId id="2147483735" r:id="rId3"/>
    <p:sldLayoutId id="2147483734" r:id="rId4"/>
    <p:sldLayoutId id="2147483724" r:id="rId5"/>
    <p:sldLayoutId id="2147483693" r:id="rId6"/>
    <p:sldLayoutId id="2147483650" r:id="rId7"/>
    <p:sldLayoutId id="2147483652" r:id="rId8"/>
    <p:sldLayoutId id="2147483700" r:id="rId9"/>
    <p:sldLayoutId id="2147483701" r:id="rId10"/>
    <p:sldLayoutId id="2147483653" r:id="rId11"/>
    <p:sldLayoutId id="2147483692" r:id="rId12"/>
    <p:sldLayoutId id="2147483704" r:id="rId13"/>
    <p:sldLayoutId id="2147483705" r:id="rId14"/>
    <p:sldLayoutId id="2147483707" r:id="rId15"/>
    <p:sldLayoutId id="2147483654" r:id="rId16"/>
    <p:sldLayoutId id="2147483733" r:id="rId17"/>
    <p:sldLayoutId id="2147483737" r:id="rId18"/>
    <p:sldLayoutId id="2147483684" r:id="rId19"/>
    <p:sldLayoutId id="2147483698" r:id="rId20"/>
    <p:sldLayoutId id="2147483697" r:id="rId21"/>
    <p:sldLayoutId id="2147483685" r:id="rId22"/>
    <p:sldLayoutId id="2147483681" r:id="rId23"/>
    <p:sldLayoutId id="2147483703" r:id="rId24"/>
    <p:sldLayoutId id="2147483736" r:id="rId25"/>
    <p:sldLayoutId id="2147483686" r:id="rId26"/>
    <p:sldLayoutId id="2147483687" r:id="rId27"/>
    <p:sldLayoutId id="2147483690" r:id="rId28"/>
    <p:sldLayoutId id="2147483696" r:id="rId29"/>
    <p:sldLayoutId id="2147483679" r:id="rId30"/>
    <p:sldLayoutId id="2147483682" r:id="rId31"/>
    <p:sldLayoutId id="2147483678" r:id="rId32"/>
    <p:sldLayoutId id="2147483675" r:id="rId33"/>
    <p:sldLayoutId id="2147483688" r:id="rId34"/>
    <p:sldLayoutId id="2147483723" r:id="rId35"/>
    <p:sldLayoutId id="2147483699" r:id="rId36"/>
    <p:sldLayoutId id="2147483722" r:id="rId37"/>
    <p:sldLayoutId id="2147483738" r:id="rId38"/>
    <p:sldLayoutId id="2147483709" r:id="rId39"/>
    <p:sldLayoutId id="2147483710" r:id="rId40"/>
    <p:sldLayoutId id="2147483708" r:id="rId41"/>
    <p:sldLayoutId id="2147483726" r:id="rId42"/>
    <p:sldLayoutId id="2147483727" r:id="rId43"/>
    <p:sldLayoutId id="2147483728" r:id="rId44"/>
    <p:sldLayoutId id="2147483729" r:id="rId45"/>
    <p:sldLayoutId id="2147483730" r:id="rId46"/>
    <p:sldLayoutId id="2147483731" r:id="rId47"/>
    <p:sldLayoutId id="2147483732" r:id="rId48"/>
  </p:sldLayoutIdLst>
  <p:hf hdr="0"/>
  <p:txStyles>
    <p:titleStyle>
      <a:lvl1pPr algn="l" defTabSz="914400" rtl="0" eaLnBrk="1" latinLnBrk="0" hangingPunct="1">
        <a:lnSpc>
          <a:spcPct val="90000"/>
        </a:lnSpc>
        <a:spcBef>
          <a:spcPct val="0"/>
        </a:spcBef>
        <a:buNone/>
        <a:defRPr sz="2600" kern="1200">
          <a:solidFill>
            <a:schemeClr val="tx1"/>
          </a:solidFill>
          <a:latin typeface="Arial" panose="020B0604020202020204" pitchFamily="34" charset="0"/>
          <a:ea typeface="+mj-ea"/>
          <a:cs typeface="Arial" panose="020B0604020202020204" pitchFamily="34" charset="0"/>
        </a:defRPr>
      </a:lvl1pPr>
    </p:titleStyle>
    <p:body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456" userDrawn="1">
          <p15:clr>
            <a:srgbClr val="F26B43"/>
          </p15:clr>
        </p15:guide>
        <p15:guide id="4" pos="7224" userDrawn="1">
          <p15:clr>
            <a:srgbClr val="F26B43"/>
          </p15:clr>
        </p15:guide>
        <p15:guide id="5" orient="horz" pos="1056" userDrawn="1">
          <p15:clr>
            <a:srgbClr val="F26B43"/>
          </p15:clr>
        </p15:guide>
        <p15:guide id="6" orient="horz" pos="592" userDrawn="1">
          <p15:clr>
            <a:srgbClr val="F26B43"/>
          </p15:clr>
        </p15:guide>
        <p15:guide id="7" orient="horz" pos="3976" userDrawn="1">
          <p15:clr>
            <a:srgbClr val="F26B43"/>
          </p15:clr>
        </p15:guide>
        <p15:guide id="8" orient="horz" pos="904" userDrawn="1">
          <p15:clr>
            <a:srgbClr val="F26B43"/>
          </p15:clr>
        </p15:guide>
        <p15:guide id="9" pos="2560" userDrawn="1">
          <p15:clr>
            <a:srgbClr val="F26B43"/>
          </p15:clr>
        </p15:guide>
        <p15:guide id="10" pos="5120" userDrawn="1">
          <p15:clr>
            <a:srgbClr val="F26B43"/>
          </p15:clr>
        </p15:guide>
        <p15:guide id="11" pos="2784" userDrawn="1">
          <p15:clr>
            <a:srgbClr val="F26B43"/>
          </p15:clr>
        </p15:guide>
        <p15:guide id="12" pos="4896"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image" Target="../media/image6.svg"/><Relationship Id="rId18" Type="http://schemas.openxmlformats.org/officeDocument/2006/relationships/image" Target="../media/image11.png"/><Relationship Id="rId26" Type="http://schemas.openxmlformats.org/officeDocument/2006/relationships/image" Target="../media/image19.png"/><Relationship Id="rId3" Type="http://schemas.openxmlformats.org/officeDocument/2006/relationships/tags" Target="../tags/tag8.xml"/><Relationship Id="rId21" Type="http://schemas.openxmlformats.org/officeDocument/2006/relationships/image" Target="../media/image14.svg"/><Relationship Id="rId7" Type="http://schemas.openxmlformats.org/officeDocument/2006/relationships/tags" Target="../tags/tag12.xml"/><Relationship Id="rId12" Type="http://schemas.openxmlformats.org/officeDocument/2006/relationships/image" Target="../media/image5.png"/><Relationship Id="rId17" Type="http://schemas.openxmlformats.org/officeDocument/2006/relationships/image" Target="../media/image10.svg"/><Relationship Id="rId25" Type="http://schemas.openxmlformats.org/officeDocument/2006/relationships/image" Target="../media/image18.svg"/><Relationship Id="rId2" Type="http://schemas.openxmlformats.org/officeDocument/2006/relationships/tags" Target="../tags/tag7.xml"/><Relationship Id="rId16" Type="http://schemas.openxmlformats.org/officeDocument/2006/relationships/image" Target="../media/image9.png"/><Relationship Id="rId20" Type="http://schemas.openxmlformats.org/officeDocument/2006/relationships/image" Target="../media/image13.png"/><Relationship Id="rId29" Type="http://schemas.openxmlformats.org/officeDocument/2006/relationships/image" Target="../media/image22.svg"/><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slideLayout" Target="../slideLayouts/slideLayout2.xml"/><Relationship Id="rId24" Type="http://schemas.openxmlformats.org/officeDocument/2006/relationships/image" Target="../media/image17.png"/><Relationship Id="rId5" Type="http://schemas.openxmlformats.org/officeDocument/2006/relationships/tags" Target="../tags/tag10.xml"/><Relationship Id="rId15" Type="http://schemas.openxmlformats.org/officeDocument/2006/relationships/image" Target="../media/image8.svg"/><Relationship Id="rId23" Type="http://schemas.openxmlformats.org/officeDocument/2006/relationships/image" Target="../media/image16.svg"/><Relationship Id="rId28" Type="http://schemas.openxmlformats.org/officeDocument/2006/relationships/image" Target="../media/image21.png"/><Relationship Id="rId10" Type="http://schemas.openxmlformats.org/officeDocument/2006/relationships/tags" Target="../tags/tag15.xml"/><Relationship Id="rId19" Type="http://schemas.openxmlformats.org/officeDocument/2006/relationships/image" Target="../media/image12.svg"/><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image" Target="../media/image7.png"/><Relationship Id="rId22" Type="http://schemas.openxmlformats.org/officeDocument/2006/relationships/image" Target="../media/image15.png"/><Relationship Id="rId27" Type="http://schemas.openxmlformats.org/officeDocument/2006/relationships/image" Target="../media/image20.svg"/></Relationships>
</file>

<file path=ppt/slides/_rels/slide10.xml.rels><?xml version="1.0" encoding="UTF-8" standalone="yes"?>
<Relationships xmlns="http://schemas.openxmlformats.org/package/2006/relationships"><Relationship Id="rId3" Type="http://schemas.openxmlformats.org/officeDocument/2006/relationships/hyperlink" Target="https://www.digitalwelt.org/themen/hackerethik/freie-software-bewegung" TargetMode="External"/><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4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microsoft.com/office/2018/10/relationships/comments" Target="../comments/modernComment_A3E_89B4807F.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4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hyperlink" Target="http://www.catb.org/jargon/html/S/samurai.html" TargetMode="Externa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4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4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image" Target="../media/image7.png"/><Relationship Id="rId18" Type="http://schemas.openxmlformats.org/officeDocument/2006/relationships/image" Target="../media/image12.svg"/><Relationship Id="rId26" Type="http://schemas.openxmlformats.org/officeDocument/2006/relationships/image" Target="../media/image20.svg"/><Relationship Id="rId3" Type="http://schemas.openxmlformats.org/officeDocument/2006/relationships/tags" Target="../tags/tag18.xml"/><Relationship Id="rId21" Type="http://schemas.openxmlformats.org/officeDocument/2006/relationships/image" Target="../media/image15.png"/><Relationship Id="rId7" Type="http://schemas.openxmlformats.org/officeDocument/2006/relationships/tags" Target="../tags/tag22.xml"/><Relationship Id="rId12" Type="http://schemas.openxmlformats.org/officeDocument/2006/relationships/image" Target="../media/image6.svg"/><Relationship Id="rId17" Type="http://schemas.openxmlformats.org/officeDocument/2006/relationships/image" Target="../media/image11.png"/><Relationship Id="rId25" Type="http://schemas.openxmlformats.org/officeDocument/2006/relationships/image" Target="../media/image19.png"/><Relationship Id="rId2" Type="http://schemas.openxmlformats.org/officeDocument/2006/relationships/tags" Target="../tags/tag17.xml"/><Relationship Id="rId16" Type="http://schemas.openxmlformats.org/officeDocument/2006/relationships/image" Target="../media/image10.svg"/><Relationship Id="rId20" Type="http://schemas.openxmlformats.org/officeDocument/2006/relationships/image" Target="../media/image14.svg"/><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image" Target="../media/image5.png"/><Relationship Id="rId24" Type="http://schemas.openxmlformats.org/officeDocument/2006/relationships/image" Target="../media/image18.svg"/><Relationship Id="rId5" Type="http://schemas.openxmlformats.org/officeDocument/2006/relationships/tags" Target="../tags/tag20.xml"/><Relationship Id="rId15" Type="http://schemas.openxmlformats.org/officeDocument/2006/relationships/image" Target="../media/image9.png"/><Relationship Id="rId23" Type="http://schemas.openxmlformats.org/officeDocument/2006/relationships/image" Target="../media/image17.png"/><Relationship Id="rId28" Type="http://schemas.openxmlformats.org/officeDocument/2006/relationships/image" Target="../media/image22.svg"/><Relationship Id="rId10" Type="http://schemas.openxmlformats.org/officeDocument/2006/relationships/slideLayout" Target="../slideLayouts/slideLayout5.xml"/><Relationship Id="rId19" Type="http://schemas.openxmlformats.org/officeDocument/2006/relationships/image" Target="../media/image13.png"/><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image" Target="../media/image8.svg"/><Relationship Id="rId22" Type="http://schemas.openxmlformats.org/officeDocument/2006/relationships/image" Target="../media/image16.svg"/><Relationship Id="rId27" Type="http://schemas.openxmlformats.org/officeDocument/2006/relationships/image" Target="../media/image21.png"/></Relationships>
</file>

<file path=ppt/slides/_rels/slide3.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39.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xml"/><Relationship Id="rId1" Type="http://schemas.openxmlformats.org/officeDocument/2006/relationships/slideLayout" Target="../slideLayouts/slideLayout22.xml"/><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07844449-0B25-40A7-BD87-0C94E6A3CA60}"/>
              </a:ext>
            </a:extLst>
          </p:cNvPr>
          <p:cNvSpPr>
            <a:spLocks noGrp="1" noMove="1" noResize="1"/>
          </p:cNvSpPr>
          <p:nvPr>
            <p:ph type="ctrTitle"/>
            <p:custDataLst>
              <p:tags r:id="rId1"/>
            </p:custDataLst>
          </p:nvPr>
        </p:nvSpPr>
        <p:spPr/>
        <p:txBody>
          <a:bodyPr/>
          <a:lstStyle/>
          <a:p>
            <a:r>
              <a:rPr lang="de-DE" dirty="0"/>
              <a:t>Hackerethik</a:t>
            </a:r>
          </a:p>
        </p:txBody>
      </p:sp>
      <p:sp>
        <p:nvSpPr>
          <p:cNvPr id="6" name="Untertitel 5">
            <a:extLst>
              <a:ext uri="{FF2B5EF4-FFF2-40B4-BE49-F238E27FC236}">
                <a16:creationId xmlns:a16="http://schemas.microsoft.com/office/drawing/2014/main" id="{C9C036FB-C9D2-4591-86A2-E9E673AAAC23}"/>
              </a:ext>
            </a:extLst>
          </p:cNvPr>
          <p:cNvSpPr>
            <a:spLocks noGrp="1"/>
          </p:cNvSpPr>
          <p:nvPr>
            <p:ph type="subTitle" idx="1"/>
          </p:nvPr>
        </p:nvSpPr>
        <p:spPr/>
        <p:txBody>
          <a:bodyPr/>
          <a:lstStyle/>
          <a:p>
            <a:r>
              <a:rPr lang="de-DE" dirty="0"/>
              <a:t>Untertitel / fester Hintergrund</a:t>
            </a:r>
          </a:p>
          <a:p>
            <a:r>
              <a:rPr lang="de-DE" dirty="0"/>
              <a:t>Luca Alfano, Frantz Prochaska</a:t>
            </a:r>
          </a:p>
          <a:p>
            <a:r>
              <a:rPr lang="de-DE" dirty="0"/>
              <a:t>21.02.2022 und Augsburg</a:t>
            </a:r>
          </a:p>
        </p:txBody>
      </p:sp>
      <p:pic>
        <p:nvPicPr>
          <p:cNvPr id="14" name="Logo_Basis_neg." hidden="1">
            <a:extLst>
              <a:ext uri="{FF2B5EF4-FFF2-40B4-BE49-F238E27FC236}">
                <a16:creationId xmlns:a16="http://schemas.microsoft.com/office/drawing/2014/main" id="{BB0358A7-6314-4317-B9A8-ED88AD107ADA}"/>
              </a:ext>
            </a:extLst>
          </p:cNvPr>
          <p:cNvPicPr>
            <a:picLocks noMove="1" noResize="1"/>
          </p:cNvPicPr>
          <p:nvPr>
            <p:custDataLst>
              <p:tags r:id="rId2"/>
            </p:custDataLst>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969023" y="611349"/>
            <a:ext cx="5131975" cy="917448"/>
          </a:xfrm>
          <a:prstGeom prst="rect">
            <a:avLst/>
          </a:prstGeom>
        </p:spPr>
      </p:pic>
      <p:pic>
        <p:nvPicPr>
          <p:cNvPr id="15" name="Logo_FAI_neg.">
            <a:extLst>
              <a:ext uri="{FF2B5EF4-FFF2-40B4-BE49-F238E27FC236}">
                <a16:creationId xmlns:a16="http://schemas.microsoft.com/office/drawing/2014/main" id="{E06FABA5-36D0-4DC0-94BA-1B19FDC7911F}"/>
              </a:ext>
            </a:extLst>
          </p:cNvPr>
          <p:cNvPicPr>
            <a:picLocks noMove="1" noResize="1"/>
          </p:cNvPicPr>
          <p:nvPr>
            <p:custDataLst>
              <p:tags r:id="rId3"/>
            </p:custDataLst>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5969023" y="611349"/>
            <a:ext cx="5131975" cy="917448"/>
          </a:xfrm>
          <a:prstGeom prst="rect">
            <a:avLst/>
          </a:prstGeom>
        </p:spPr>
      </p:pic>
      <p:pic>
        <p:nvPicPr>
          <p:cNvPr id="16" name="Logo_JUF_neg." hidden="1">
            <a:extLst>
              <a:ext uri="{FF2B5EF4-FFF2-40B4-BE49-F238E27FC236}">
                <a16:creationId xmlns:a16="http://schemas.microsoft.com/office/drawing/2014/main" id="{0B398B1D-08AF-4FDC-8B79-7443E21DD094}"/>
              </a:ext>
            </a:extLst>
          </p:cNvPr>
          <p:cNvPicPr>
            <a:picLocks noMove="1" noResize="1"/>
          </p:cNvPicPr>
          <p:nvPr>
            <p:custDataLst>
              <p:tags r:id="rId4"/>
            </p:custDataLst>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5969023" y="611349"/>
            <a:ext cx="5131975" cy="917448"/>
          </a:xfrm>
          <a:prstGeom prst="rect">
            <a:avLst/>
          </a:prstGeom>
        </p:spPr>
      </p:pic>
      <p:pic>
        <p:nvPicPr>
          <p:cNvPr id="17" name="Logo_KTF_neg." hidden="1">
            <a:extLst>
              <a:ext uri="{FF2B5EF4-FFF2-40B4-BE49-F238E27FC236}">
                <a16:creationId xmlns:a16="http://schemas.microsoft.com/office/drawing/2014/main" id="{141DFD45-EA8D-413E-8CCC-2C6BBAF7BD6D}"/>
              </a:ext>
            </a:extLst>
          </p:cNvPr>
          <p:cNvPicPr>
            <a:picLocks noMove="1" noResize="1"/>
          </p:cNvPicPr>
          <p:nvPr>
            <p:custDataLst>
              <p:tags r:id="rId5"/>
            </p:custDataLst>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5969023" y="611349"/>
            <a:ext cx="5131975" cy="917448"/>
          </a:xfrm>
          <a:prstGeom prst="rect">
            <a:avLst/>
          </a:prstGeom>
        </p:spPr>
      </p:pic>
      <p:pic>
        <p:nvPicPr>
          <p:cNvPr id="18" name="Logo_MEF_neg." hidden="1">
            <a:extLst>
              <a:ext uri="{FF2B5EF4-FFF2-40B4-BE49-F238E27FC236}">
                <a16:creationId xmlns:a16="http://schemas.microsoft.com/office/drawing/2014/main" id="{7962D77E-B001-476F-A8F8-FCF994C7F538}"/>
              </a:ext>
            </a:extLst>
          </p:cNvPr>
          <p:cNvPicPr>
            <a:picLocks noMove="1" noResize="1"/>
          </p:cNvPicPr>
          <p:nvPr>
            <p:custDataLst>
              <p:tags r:id="rId6"/>
            </p:custDataLst>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5969023" y="611349"/>
            <a:ext cx="5131975" cy="917448"/>
          </a:xfrm>
          <a:prstGeom prst="rect">
            <a:avLst/>
          </a:prstGeom>
        </p:spPr>
      </p:pic>
      <p:pic>
        <p:nvPicPr>
          <p:cNvPr id="19" name="Logo_MNTF_neg." hidden="1">
            <a:extLst>
              <a:ext uri="{FF2B5EF4-FFF2-40B4-BE49-F238E27FC236}">
                <a16:creationId xmlns:a16="http://schemas.microsoft.com/office/drawing/2014/main" id="{E2CCCC58-F5AE-4141-BB4D-217B271EAF20}"/>
              </a:ext>
            </a:extLst>
          </p:cNvPr>
          <p:cNvPicPr>
            <a:picLocks noMove="1" noResize="1"/>
          </p:cNvPicPr>
          <p:nvPr>
            <p:custDataLst>
              <p:tags r:id="rId7"/>
            </p:custDataLst>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5969023" y="611349"/>
            <a:ext cx="5131975" cy="917448"/>
          </a:xfrm>
          <a:prstGeom prst="rect">
            <a:avLst/>
          </a:prstGeom>
        </p:spPr>
      </p:pic>
      <p:pic>
        <p:nvPicPr>
          <p:cNvPr id="20" name="Logo_PHF_neg." hidden="1">
            <a:extLst>
              <a:ext uri="{FF2B5EF4-FFF2-40B4-BE49-F238E27FC236}">
                <a16:creationId xmlns:a16="http://schemas.microsoft.com/office/drawing/2014/main" id="{B38C48F9-6262-4647-8E95-5DBA20D27ACF}"/>
              </a:ext>
            </a:extLst>
          </p:cNvPr>
          <p:cNvPicPr>
            <a:picLocks noMove="1" noResize="1"/>
          </p:cNvPicPr>
          <p:nvPr>
            <p:custDataLst>
              <p:tags r:id="rId8"/>
            </p:custDataLst>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5969023" y="611349"/>
            <a:ext cx="5131975" cy="917448"/>
          </a:xfrm>
          <a:prstGeom prst="rect">
            <a:avLst/>
          </a:prstGeom>
        </p:spPr>
      </p:pic>
      <p:pic>
        <p:nvPicPr>
          <p:cNvPr id="21" name="Logo_PSF_neg." hidden="1">
            <a:extLst>
              <a:ext uri="{FF2B5EF4-FFF2-40B4-BE49-F238E27FC236}">
                <a16:creationId xmlns:a16="http://schemas.microsoft.com/office/drawing/2014/main" id="{31604210-6B50-4703-8445-4E06CD588D60}"/>
              </a:ext>
            </a:extLst>
          </p:cNvPr>
          <p:cNvPicPr>
            <a:picLocks noMove="1" noResize="1"/>
          </p:cNvPicPr>
          <p:nvPr>
            <p:custDataLst>
              <p:tags r:id="rId9"/>
            </p:custDataLst>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5969023" y="611349"/>
            <a:ext cx="5131975" cy="917448"/>
          </a:xfrm>
          <a:prstGeom prst="rect">
            <a:avLst/>
          </a:prstGeom>
        </p:spPr>
      </p:pic>
      <p:pic>
        <p:nvPicPr>
          <p:cNvPr id="22" name="Logo_WWF_neg." hidden="1">
            <a:extLst>
              <a:ext uri="{FF2B5EF4-FFF2-40B4-BE49-F238E27FC236}">
                <a16:creationId xmlns:a16="http://schemas.microsoft.com/office/drawing/2014/main" id="{3B3FBDC5-2D73-45B4-BBE4-09C07B3E3C82}"/>
              </a:ext>
            </a:extLst>
          </p:cNvPr>
          <p:cNvPicPr>
            <a:picLocks noMove="1" noResize="1"/>
          </p:cNvPicPr>
          <p:nvPr>
            <p:custDataLst>
              <p:tags r:id="rId10"/>
            </p:custDataLst>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5969023" y="611349"/>
            <a:ext cx="5131975" cy="917448"/>
          </a:xfrm>
          <a:prstGeom prst="rect">
            <a:avLst/>
          </a:prstGeom>
        </p:spPr>
      </p:pic>
    </p:spTree>
    <p:extLst>
      <p:ext uri="{BB962C8B-B14F-4D97-AF65-F5344CB8AC3E}">
        <p14:creationId xmlns:p14="http://schemas.microsoft.com/office/powerpoint/2010/main" val="6555390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Freie Software Bewegung</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idx="1"/>
          </p:nvPr>
        </p:nvSpPr>
        <p:spPr/>
        <p:txBody>
          <a:bodyPr/>
          <a:lstStyle/>
          <a:p>
            <a:pPr marL="298350" indent="-285750">
              <a:buFont typeface="Arial" panose="020B0604020202020204" pitchFamily="34" charset="0"/>
              <a:buChar char="•"/>
            </a:pPr>
            <a:r>
              <a:rPr lang="de-DE" dirty="0">
                <a:hlinkClick r:id="rId3"/>
              </a:rPr>
              <a:t>https://www.digitalwelt.org/themen/hackerethik/freie-software-bewegung</a:t>
            </a:r>
            <a:endParaRPr lang="de-DE" dirty="0"/>
          </a:p>
          <a:p>
            <a:pPr marL="298350" indent="-285750">
              <a:buFont typeface="Arial" panose="020B0604020202020204" pitchFamily="34" charset="0"/>
              <a:buChar char="•"/>
            </a:pPr>
            <a:r>
              <a:rPr lang="de-DE" dirty="0"/>
              <a:t>https://www.digitalwelt.org/themen/hackerethik</a:t>
            </a:r>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10</a:t>
            </a:fld>
            <a:endParaRPr lang="de-DE" dirty="0"/>
          </a:p>
        </p:txBody>
      </p:sp>
    </p:spTree>
    <p:extLst>
      <p:ext uri="{BB962C8B-B14F-4D97-AF65-F5344CB8AC3E}">
        <p14:creationId xmlns:p14="http://schemas.microsoft.com/office/powerpoint/2010/main" val="3646835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2"/>
          <a:srcRect l="20095" r="20095"/>
          <a:stretch/>
        </p:blipFill>
        <p:spPr>
          <a:noFill/>
          <a:ln w="12700">
            <a:solidFill>
              <a:schemeClr val="bg1"/>
            </a:solidFill>
          </a:ln>
        </p:spPr>
      </p:pic>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a:xfrm>
            <a:off x="592138" y="2581571"/>
            <a:ext cx="4372618" cy="3813380"/>
          </a:xfrm>
        </p:spPr>
        <p:txBody>
          <a:bodyPr>
            <a:normAutofit/>
          </a:bodyPr>
          <a:lstStyle/>
          <a:p>
            <a:r>
              <a:rPr lang="de-DE" sz="4800" dirty="0"/>
              <a:t>Hackerethik</a:t>
            </a:r>
            <a:endParaRPr lang="de-DE" sz="6000" dirty="0"/>
          </a:p>
        </p:txBody>
      </p:sp>
    </p:spTree>
    <p:extLst>
      <p:ext uri="{BB962C8B-B14F-4D97-AF65-F5344CB8AC3E}">
        <p14:creationId xmlns:p14="http://schemas.microsoft.com/office/powerpoint/2010/main" val="27605341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Geschichtliche Einordnung</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p:txBody>
          <a:bodyPr/>
          <a:lstStyle/>
          <a:p>
            <a:pPr marL="298350" indent="-285750">
              <a:buFont typeface="Arial" panose="020B0604020202020204" pitchFamily="34" charset="0"/>
              <a:buChar char="•"/>
            </a:pPr>
            <a:r>
              <a:rPr lang="de-DE" dirty="0"/>
              <a:t>Steven Levy (1984)</a:t>
            </a:r>
          </a:p>
          <a:p>
            <a:pPr marL="298350" indent="-285750">
              <a:buFont typeface="Arial" panose="020B0604020202020204" pitchFamily="34" charset="0"/>
              <a:buChar char="•"/>
            </a:pPr>
            <a:r>
              <a:rPr lang="de-DE" dirty="0"/>
              <a:t>Jargon File</a:t>
            </a:r>
          </a:p>
          <a:p>
            <a:pPr marL="298350" indent="-285750">
              <a:buFont typeface="Arial" panose="020B0604020202020204" pitchFamily="34" charset="0"/>
              <a:buChar char="•"/>
            </a:pPr>
            <a:r>
              <a:rPr lang="de-DE" dirty="0"/>
              <a:t>Hackerethik des CCC</a:t>
            </a:r>
          </a:p>
          <a:p>
            <a:pPr marL="501750" lvl="1" indent="-285750">
              <a:buFont typeface="Arial" panose="020B0604020202020204" pitchFamily="34" charset="0"/>
              <a:buChar char="•"/>
            </a:pPr>
            <a:r>
              <a:rPr lang="de-DE" dirty="0"/>
              <a:t>KGB-Hack</a:t>
            </a:r>
          </a:p>
          <a:p>
            <a:pPr marL="298350" indent="-285750">
              <a:buFont typeface="Arial" panose="020B0604020202020204" pitchFamily="34" charset="0"/>
              <a:buChar char="•"/>
            </a:pPr>
            <a:r>
              <a:rPr lang="de-DE" dirty="0"/>
              <a:t>Hackerethik als Arbeitsethik (</a:t>
            </a:r>
            <a:r>
              <a:rPr lang="de-DE" dirty="0" err="1"/>
              <a:t>Hirmanen</a:t>
            </a:r>
            <a:r>
              <a:rPr lang="de-DE" dirty="0"/>
              <a:t> 2001)</a:t>
            </a:r>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2</a:t>
            </a:fld>
            <a:endParaRPr lang="de-DE" dirty="0"/>
          </a:p>
        </p:txBody>
      </p:sp>
    </p:spTree>
    <p:extLst>
      <p:ext uri="{BB962C8B-B14F-4D97-AF65-F5344CB8AC3E}">
        <p14:creationId xmlns:p14="http://schemas.microsoft.com/office/powerpoint/2010/main" val="35875056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Jargon File</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p:txBody>
          <a:bodyPr/>
          <a:lstStyle/>
          <a:p>
            <a:pPr marL="298350" indent="-285750">
              <a:buFont typeface="Arial" panose="020B0604020202020204" pitchFamily="34" charset="0"/>
              <a:buChar char="•"/>
            </a:pPr>
            <a:r>
              <a:rPr lang="de-DE" dirty="0"/>
              <a:t>Was ist das Jargon File</a:t>
            </a:r>
          </a:p>
          <a:p>
            <a:pPr marL="298350" indent="-285750">
              <a:buFont typeface="Arial" panose="020B0604020202020204" pitchFamily="34" charset="0"/>
              <a:buChar char="•"/>
            </a:pPr>
            <a:r>
              <a:rPr lang="de-DE" dirty="0"/>
              <a:t>Welche Definition von Hackerethik</a:t>
            </a:r>
          </a:p>
          <a:p>
            <a:pPr marL="298350" indent="-285750">
              <a:buFont typeface="Arial" panose="020B0604020202020204" pitchFamily="34" charset="0"/>
              <a:buChar char="•"/>
            </a:pPr>
            <a:r>
              <a:rPr lang="en-US" dirty="0"/>
              <a:t>1. The belief that information-sharing is a powerful positive good, and that it is an ethical duty of hackers to share their expertise by writing open-source code and facilitating access to information and to computing resources wherever possible.</a:t>
            </a:r>
          </a:p>
          <a:p>
            <a:pPr marL="298350" indent="-285750">
              <a:buFont typeface="Arial" panose="020B0604020202020204" pitchFamily="34" charset="0"/>
              <a:buChar char="•"/>
            </a:pPr>
            <a:r>
              <a:rPr lang="en-US" dirty="0"/>
              <a:t>2. The belief that system-cracking for fun and exploration is ethically OK as long as the cracker commits no theft, vandalism, or breach of confidentiality</a:t>
            </a: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3</a:t>
            </a:fld>
            <a:endParaRPr lang="de-DE" dirty="0"/>
          </a:p>
        </p:txBody>
      </p:sp>
    </p:spTree>
    <p:extLst>
      <p:ext uri="{BB962C8B-B14F-4D97-AF65-F5344CB8AC3E}">
        <p14:creationId xmlns:p14="http://schemas.microsoft.com/office/powerpoint/2010/main" val="472718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Steven Levy</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p:txBody>
          <a:bodyPr/>
          <a:lstStyle/>
          <a:p>
            <a:pPr marL="298350" indent="-285750">
              <a:buFont typeface="Arial" panose="020B0604020202020204" pitchFamily="34" charset="0"/>
              <a:buChar char="•"/>
            </a:pPr>
            <a:r>
              <a:rPr lang="en-US" dirty="0"/>
              <a:t>"Access to computers—and anything which might teach you something about the way the world works—should be unlimited and total. Always yield to the Hands-On Imperative!“</a:t>
            </a:r>
          </a:p>
          <a:p>
            <a:pPr marL="298350" indent="-285750">
              <a:buFont typeface="Arial" panose="020B0604020202020204" pitchFamily="34" charset="0"/>
              <a:buChar char="•"/>
            </a:pPr>
            <a:r>
              <a:rPr lang="en-US" dirty="0"/>
              <a:t>"All information should be free“</a:t>
            </a:r>
          </a:p>
          <a:p>
            <a:pPr marL="298350" indent="-285750">
              <a:buFont typeface="Arial" panose="020B0604020202020204" pitchFamily="34" charset="0"/>
              <a:buChar char="•"/>
            </a:pPr>
            <a:r>
              <a:rPr lang="de-DE" dirty="0"/>
              <a:t>"</a:t>
            </a:r>
            <a:r>
              <a:rPr lang="de-DE" dirty="0" err="1"/>
              <a:t>Mistrust</a:t>
            </a:r>
            <a:r>
              <a:rPr lang="de-DE" dirty="0"/>
              <a:t> </a:t>
            </a:r>
            <a:r>
              <a:rPr lang="de-DE" dirty="0" err="1"/>
              <a:t>authority</a:t>
            </a:r>
            <a:r>
              <a:rPr lang="de-DE" dirty="0"/>
              <a:t>—promote </a:t>
            </a:r>
            <a:r>
              <a:rPr lang="de-DE" dirty="0" err="1"/>
              <a:t>decentralization</a:t>
            </a:r>
            <a:r>
              <a:rPr lang="de-DE" dirty="0"/>
              <a:t>„</a:t>
            </a:r>
          </a:p>
          <a:p>
            <a:pPr marL="298350" indent="-285750">
              <a:buFont typeface="Arial" panose="020B0604020202020204" pitchFamily="34" charset="0"/>
              <a:buChar char="•"/>
            </a:pPr>
            <a:r>
              <a:rPr lang="en-US" dirty="0"/>
              <a:t>"Hackers should be judged by their hacking, not bogus criteria such as degrees, age, race, sex, or position“</a:t>
            </a:r>
          </a:p>
          <a:p>
            <a:pPr marL="298350" indent="-285750">
              <a:buFont typeface="Arial" panose="020B0604020202020204" pitchFamily="34" charset="0"/>
              <a:buChar char="•"/>
            </a:pPr>
            <a:r>
              <a:rPr lang="en-US" dirty="0"/>
              <a:t>"You can create art and beauty on a computer“</a:t>
            </a:r>
          </a:p>
          <a:p>
            <a:pPr marL="298350" indent="-285750">
              <a:buFont typeface="Arial" panose="020B0604020202020204" pitchFamily="34" charset="0"/>
              <a:buChar char="•"/>
            </a:pPr>
            <a:r>
              <a:rPr lang="en-US" dirty="0"/>
              <a:t>"Computers can change your life for the better"</a:t>
            </a: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4</a:t>
            </a:fld>
            <a:endParaRPr lang="de-DE" dirty="0"/>
          </a:p>
        </p:txBody>
      </p:sp>
    </p:spTree>
    <p:extLst>
      <p:ext uri="{BB962C8B-B14F-4D97-AF65-F5344CB8AC3E}">
        <p14:creationId xmlns:p14="http://schemas.microsoft.com/office/powerpoint/2010/main" val="9984459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Chaos Computer Club (CCC)</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p:txBody>
          <a:bodyPr/>
          <a:lstStyle/>
          <a:p>
            <a:pPr marL="298350" indent="-285750">
              <a:buFont typeface="Arial" panose="020B0604020202020204" pitchFamily="34" charset="0"/>
              <a:buChar char="•"/>
            </a:pPr>
            <a:r>
              <a:rPr lang="de-DE" dirty="0"/>
              <a:t>https://www.ccc.de/de/hackerethik</a:t>
            </a:r>
          </a:p>
          <a:p>
            <a:pPr marL="298350" indent="-285750">
              <a:buFont typeface="Arial" panose="020B0604020202020204" pitchFamily="34" charset="0"/>
              <a:buChar char="•"/>
            </a:pPr>
            <a:r>
              <a:rPr lang="de-DE" dirty="0"/>
              <a:t>Kurze </a:t>
            </a:r>
            <a:r>
              <a:rPr lang="de-DE" dirty="0" err="1"/>
              <a:t>erklärung</a:t>
            </a:r>
            <a:r>
              <a:rPr lang="de-DE" dirty="0"/>
              <a:t> (CCC)</a:t>
            </a:r>
          </a:p>
          <a:p>
            <a:pPr marL="298350" indent="-285750">
              <a:buFont typeface="Arial" panose="020B0604020202020204" pitchFamily="34" charset="0"/>
              <a:buChar char="•"/>
            </a:pPr>
            <a:r>
              <a:rPr lang="de-DE" dirty="0"/>
              <a:t>Erweiterung</a:t>
            </a:r>
          </a:p>
          <a:p>
            <a:pPr marL="298350" indent="-285750">
              <a:buFont typeface="Arial" panose="020B0604020202020204" pitchFamily="34" charset="0"/>
              <a:buChar char="•"/>
            </a:pPr>
            <a:r>
              <a:rPr lang="de-DE" dirty="0"/>
              <a:t>KGB-Hack (was ist passiert, welche Änderungen in der Hackerethik)</a:t>
            </a:r>
          </a:p>
          <a:p>
            <a:pPr marL="298350" indent="-285750">
              <a:buFont typeface="Arial" panose="020B0604020202020204" pitchFamily="34" charset="0"/>
              <a:buChar char="•"/>
            </a:pP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5</a:t>
            </a:fld>
            <a:endParaRPr lang="de-DE" dirty="0"/>
          </a:p>
        </p:txBody>
      </p:sp>
    </p:spTree>
    <p:extLst>
      <p:ext uri="{BB962C8B-B14F-4D97-AF65-F5344CB8AC3E}">
        <p14:creationId xmlns:p14="http://schemas.microsoft.com/office/powerpoint/2010/main" val="30233363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83DC0B-2A2F-404A-BCD8-73EB6149870B}"/>
              </a:ext>
            </a:extLst>
          </p:cNvPr>
          <p:cNvSpPr>
            <a:spLocks noGrp="1"/>
          </p:cNvSpPr>
          <p:nvPr>
            <p:ph type="title"/>
          </p:nvPr>
        </p:nvSpPr>
        <p:spPr/>
        <p:txBody>
          <a:bodyPr/>
          <a:lstStyle/>
          <a:p>
            <a:r>
              <a:rPr lang="de-DE" dirty="0"/>
              <a:t>Grundsätze des CCC</a:t>
            </a:r>
          </a:p>
        </p:txBody>
      </p:sp>
      <p:sp>
        <p:nvSpPr>
          <p:cNvPr id="3" name="Inhaltsplatzhalter 2">
            <a:extLst>
              <a:ext uri="{FF2B5EF4-FFF2-40B4-BE49-F238E27FC236}">
                <a16:creationId xmlns:a16="http://schemas.microsoft.com/office/drawing/2014/main" id="{0D29DD69-4677-4997-93FF-A1F8F3704C49}"/>
              </a:ext>
            </a:extLst>
          </p:cNvPr>
          <p:cNvSpPr>
            <a:spLocks noGrp="1"/>
          </p:cNvSpPr>
          <p:nvPr>
            <p:ph idx="1"/>
          </p:nvPr>
        </p:nvSpPr>
        <p:spPr/>
        <p:txBody>
          <a:bodyPr/>
          <a:lstStyle/>
          <a:p>
            <a:pPr marL="298350" indent="-285750">
              <a:buFont typeface="Arial" panose="020B0604020202020204" pitchFamily="34" charset="0"/>
              <a:buChar char="•"/>
            </a:pPr>
            <a:r>
              <a:rPr lang="de-DE" dirty="0"/>
              <a:t>Der Zugang zu Computern und allem, was einem zeigen kann, wie diese Welt funktioniert, sollte unbegrenzt und vollständig sein.</a:t>
            </a:r>
          </a:p>
          <a:p>
            <a:pPr marL="298350" indent="-285750">
              <a:buFont typeface="Arial" panose="020B0604020202020204" pitchFamily="34" charset="0"/>
              <a:buChar char="•"/>
            </a:pPr>
            <a:r>
              <a:rPr lang="de-DE" dirty="0"/>
              <a:t>Alle Informationen müssen frei sein.</a:t>
            </a:r>
          </a:p>
          <a:p>
            <a:pPr marL="298350" indent="-285750">
              <a:buFont typeface="Arial" panose="020B0604020202020204" pitchFamily="34" charset="0"/>
              <a:buChar char="•"/>
            </a:pPr>
            <a:r>
              <a:rPr lang="de-DE" dirty="0" err="1"/>
              <a:t>Mißtraue</a:t>
            </a:r>
            <a:r>
              <a:rPr lang="de-DE" dirty="0"/>
              <a:t> Autoritäten – fördere Dezentralisierung.</a:t>
            </a:r>
          </a:p>
          <a:p>
            <a:pPr marL="298350" indent="-285750">
              <a:buFont typeface="Arial" panose="020B0604020202020204" pitchFamily="34" charset="0"/>
              <a:buChar char="•"/>
            </a:pPr>
            <a:r>
              <a:rPr lang="de-DE" dirty="0"/>
              <a:t>Beurteile einen Hacker nach dem, was er tut, und nicht nach üblichen Kriterien wie Aussehen, Alter, Herkunft, Spezies, Geschlecht oder gesellschaftliche Stellung.</a:t>
            </a:r>
          </a:p>
          <a:p>
            <a:pPr marL="298350" indent="-285750">
              <a:buFont typeface="Arial" panose="020B0604020202020204" pitchFamily="34" charset="0"/>
              <a:buChar char="•"/>
            </a:pPr>
            <a:r>
              <a:rPr lang="de-DE" dirty="0"/>
              <a:t>Man kann mit einem Computer Kunst und Schönheit schaffen.</a:t>
            </a:r>
          </a:p>
          <a:p>
            <a:pPr marL="298350" indent="-285750">
              <a:buFont typeface="Arial" panose="020B0604020202020204" pitchFamily="34" charset="0"/>
              <a:buChar char="•"/>
            </a:pPr>
            <a:r>
              <a:rPr lang="de-DE" dirty="0"/>
              <a:t>Computer können dein Leben zum Besseren verändern.</a:t>
            </a:r>
          </a:p>
          <a:p>
            <a:pPr marL="298350" indent="-285750">
              <a:buFont typeface="Arial" panose="020B0604020202020204" pitchFamily="34" charset="0"/>
              <a:buChar char="•"/>
            </a:pPr>
            <a:r>
              <a:rPr lang="de-DE" dirty="0" err="1"/>
              <a:t>Mülle</a:t>
            </a:r>
            <a:r>
              <a:rPr lang="de-DE" dirty="0"/>
              <a:t> nicht in den Daten anderer Leute.</a:t>
            </a:r>
          </a:p>
          <a:p>
            <a:pPr marL="298350" indent="-285750">
              <a:buFont typeface="Arial" panose="020B0604020202020204" pitchFamily="34" charset="0"/>
              <a:buChar char="•"/>
            </a:pPr>
            <a:r>
              <a:rPr lang="de-DE" dirty="0"/>
              <a:t>Öffentliche Daten nützen, private Daten schützen.</a:t>
            </a:r>
          </a:p>
        </p:txBody>
      </p:sp>
      <p:sp>
        <p:nvSpPr>
          <p:cNvPr id="4" name="Untertitel 3">
            <a:extLst>
              <a:ext uri="{FF2B5EF4-FFF2-40B4-BE49-F238E27FC236}">
                <a16:creationId xmlns:a16="http://schemas.microsoft.com/office/drawing/2014/main" id="{D710FBF4-8DA2-4945-9C66-440DC2EBB63F}"/>
              </a:ext>
            </a:extLst>
          </p:cNvPr>
          <p:cNvSpPr>
            <a:spLocks noGrp="1"/>
          </p:cNvSpPr>
          <p:nvPr>
            <p:ph type="subTitle" idx="13"/>
          </p:nvPr>
        </p:nvSpPr>
        <p:spPr/>
        <p:txBody>
          <a:bodyPr/>
          <a:lstStyle/>
          <a:p>
            <a:r>
              <a:rPr lang="de-DE" dirty="0"/>
              <a:t>Hackerethik – Grundsätze</a:t>
            </a:r>
          </a:p>
        </p:txBody>
      </p:sp>
      <p:sp>
        <p:nvSpPr>
          <p:cNvPr id="5" name="Datumsplatzhalter 4">
            <a:extLst>
              <a:ext uri="{FF2B5EF4-FFF2-40B4-BE49-F238E27FC236}">
                <a16:creationId xmlns:a16="http://schemas.microsoft.com/office/drawing/2014/main" id="{B1F78B6E-DAE7-4D8C-98FC-F56DE04143CC}"/>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6" name="Fußzeilenplatzhalter 5">
            <a:extLst>
              <a:ext uri="{FF2B5EF4-FFF2-40B4-BE49-F238E27FC236}">
                <a16:creationId xmlns:a16="http://schemas.microsoft.com/office/drawing/2014/main" id="{3CAE11DF-C07C-4FF2-A80A-43E40E455E0F}"/>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673E0C36-CFA8-427C-9BA9-AA2CCFA8BB8A}"/>
              </a:ext>
            </a:extLst>
          </p:cNvPr>
          <p:cNvSpPr>
            <a:spLocks noGrp="1"/>
          </p:cNvSpPr>
          <p:nvPr>
            <p:ph type="sldNum" sz="quarter" idx="16"/>
          </p:nvPr>
        </p:nvSpPr>
        <p:spPr/>
        <p:txBody>
          <a:bodyPr/>
          <a:lstStyle/>
          <a:p>
            <a:fld id="{6567D7EC-8799-48C5-898A-08E264972062}" type="slidenum">
              <a:rPr lang="de-DE" smtClean="0"/>
              <a:pPr/>
              <a:t>16</a:t>
            </a:fld>
            <a:endParaRPr lang="de-DE" dirty="0"/>
          </a:p>
        </p:txBody>
      </p:sp>
    </p:spTree>
    <p:extLst>
      <p:ext uri="{BB962C8B-B14F-4D97-AF65-F5344CB8AC3E}">
        <p14:creationId xmlns:p14="http://schemas.microsoft.com/office/powerpoint/2010/main" val="18260083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3C5BDB0-ED0F-4808-9AF9-7FA339C5A9D3}"/>
              </a:ext>
            </a:extLst>
          </p:cNvPr>
          <p:cNvSpPr>
            <a:spLocks noGrp="1"/>
          </p:cNvSpPr>
          <p:nvPr>
            <p:ph type="title"/>
          </p:nvPr>
        </p:nvSpPr>
        <p:spPr/>
        <p:txBody>
          <a:bodyPr/>
          <a:lstStyle/>
          <a:p>
            <a:r>
              <a:rPr lang="de-DE" dirty="0"/>
              <a:t>Gegenüberstellung</a:t>
            </a:r>
          </a:p>
        </p:txBody>
      </p:sp>
      <p:sp>
        <p:nvSpPr>
          <p:cNvPr id="10" name="Textplatzhalter 9">
            <a:extLst>
              <a:ext uri="{FF2B5EF4-FFF2-40B4-BE49-F238E27FC236}">
                <a16:creationId xmlns:a16="http://schemas.microsoft.com/office/drawing/2014/main" id="{C621D165-EC8F-4C76-B3EE-CDC128ADF107}"/>
              </a:ext>
            </a:extLst>
          </p:cNvPr>
          <p:cNvSpPr>
            <a:spLocks noGrp="1"/>
          </p:cNvSpPr>
          <p:nvPr>
            <p:ph type="body" sz="quarter" idx="23"/>
          </p:nvPr>
        </p:nvSpPr>
        <p:spPr/>
        <p:txBody>
          <a:bodyPr/>
          <a:lstStyle/>
          <a:p>
            <a:r>
              <a:rPr lang="de-DE" dirty="0"/>
              <a:t>Jargon File</a:t>
            </a:r>
          </a:p>
        </p:txBody>
      </p:sp>
      <p:sp>
        <p:nvSpPr>
          <p:cNvPr id="11" name="Textplatzhalter 10">
            <a:extLst>
              <a:ext uri="{FF2B5EF4-FFF2-40B4-BE49-F238E27FC236}">
                <a16:creationId xmlns:a16="http://schemas.microsoft.com/office/drawing/2014/main" id="{92EF62CD-7692-4885-A76F-CA7013BFD8EE}"/>
              </a:ext>
            </a:extLst>
          </p:cNvPr>
          <p:cNvSpPr>
            <a:spLocks noGrp="1"/>
          </p:cNvSpPr>
          <p:nvPr>
            <p:ph type="body" sz="quarter" idx="24"/>
          </p:nvPr>
        </p:nvSpPr>
        <p:spPr/>
        <p:txBody>
          <a:bodyPr/>
          <a:lstStyle/>
          <a:p>
            <a:r>
              <a:rPr lang="de-DE" dirty="0"/>
              <a:t>Zwei Ethische Prinzipien</a:t>
            </a:r>
          </a:p>
          <a:p>
            <a:pPr marL="355500" indent="-342900">
              <a:buAutoNum type="arabicPeriod"/>
            </a:pPr>
            <a:r>
              <a:rPr lang="de-DE" dirty="0"/>
              <a:t>Freier Informationsaustausch</a:t>
            </a:r>
          </a:p>
          <a:p>
            <a:pPr marL="355500" indent="-342900">
              <a:buAutoNum type="arabicPeriod"/>
            </a:pPr>
            <a:r>
              <a:rPr lang="de-DE" dirty="0"/>
              <a:t>Ethische eindringen in Systeme (Computersicherheit)</a:t>
            </a:r>
          </a:p>
          <a:p>
            <a:r>
              <a:rPr lang="de-DE" dirty="0"/>
              <a:t>Sehr rudimentär gehalten, viel</a:t>
            </a:r>
          </a:p>
          <a:p>
            <a:r>
              <a:rPr lang="de-DE" dirty="0"/>
              <a:t>Interpretationsmöglichkeiten (GNU, weitere http://www.catb.org/jargon/html/H/hacker-ethic.html)</a:t>
            </a:r>
          </a:p>
        </p:txBody>
      </p:sp>
      <p:sp>
        <p:nvSpPr>
          <p:cNvPr id="9" name="Untertitel 8">
            <a:extLst>
              <a:ext uri="{FF2B5EF4-FFF2-40B4-BE49-F238E27FC236}">
                <a16:creationId xmlns:a16="http://schemas.microsoft.com/office/drawing/2014/main" id="{83C30912-7188-479A-9606-DB960FACBDDB}"/>
              </a:ext>
            </a:extLst>
          </p:cNvPr>
          <p:cNvSpPr>
            <a:spLocks noGrp="1"/>
          </p:cNvSpPr>
          <p:nvPr>
            <p:ph type="subTitle" idx="13"/>
          </p:nvPr>
        </p:nvSpPr>
        <p:spPr/>
        <p:txBody>
          <a:bodyPr/>
          <a:lstStyle/>
          <a:p>
            <a:r>
              <a:rPr lang="de-DE" dirty="0"/>
              <a:t>Hackerethik - Grundsätze</a:t>
            </a:r>
          </a:p>
        </p:txBody>
      </p:sp>
      <p:sp>
        <p:nvSpPr>
          <p:cNvPr id="5" name="Datumsplatzhalter 4">
            <a:extLst>
              <a:ext uri="{FF2B5EF4-FFF2-40B4-BE49-F238E27FC236}">
                <a16:creationId xmlns:a16="http://schemas.microsoft.com/office/drawing/2014/main" id="{BBDCADA1-E87A-4BF0-B556-0CCC0870E10D}"/>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6" name="Fußzeilenplatzhalter 5">
            <a:extLst>
              <a:ext uri="{FF2B5EF4-FFF2-40B4-BE49-F238E27FC236}">
                <a16:creationId xmlns:a16="http://schemas.microsoft.com/office/drawing/2014/main" id="{15AE3556-F0A9-460F-AB43-3C0666B909F2}"/>
              </a:ext>
            </a:extLst>
          </p:cNvPr>
          <p:cNvSpPr>
            <a:spLocks noGrp="1"/>
          </p:cNvSpPr>
          <p:nvPr>
            <p:ph type="ftr" sz="quarter" idx="21"/>
          </p:nvPr>
        </p:nvSpPr>
        <p:spPr/>
        <p:txBody>
          <a:bodyPr/>
          <a:lstStyle/>
          <a:p>
            <a:r>
              <a:rPr lang="de-DE" dirty="0"/>
              <a:t>|    Fußzeile Universität Augsburg</a:t>
            </a:r>
          </a:p>
        </p:txBody>
      </p:sp>
      <p:sp>
        <p:nvSpPr>
          <p:cNvPr id="7" name="Foliennummernplatzhalter 6">
            <a:extLst>
              <a:ext uri="{FF2B5EF4-FFF2-40B4-BE49-F238E27FC236}">
                <a16:creationId xmlns:a16="http://schemas.microsoft.com/office/drawing/2014/main" id="{F2C8DC2D-6FB4-4D59-BF2C-C467417106B1}"/>
              </a:ext>
            </a:extLst>
          </p:cNvPr>
          <p:cNvSpPr>
            <a:spLocks noGrp="1"/>
          </p:cNvSpPr>
          <p:nvPr>
            <p:ph type="sldNum" sz="quarter" idx="22"/>
          </p:nvPr>
        </p:nvSpPr>
        <p:spPr/>
        <p:txBody>
          <a:bodyPr/>
          <a:lstStyle/>
          <a:p>
            <a:fld id="{6567D7EC-8799-48C5-898A-08E264972062}" type="slidenum">
              <a:rPr lang="de-DE" smtClean="0"/>
              <a:pPr/>
              <a:t>17</a:t>
            </a:fld>
            <a:endParaRPr lang="de-DE" dirty="0"/>
          </a:p>
        </p:txBody>
      </p:sp>
      <p:sp>
        <p:nvSpPr>
          <p:cNvPr id="12" name="Textplatzhalter 11">
            <a:extLst>
              <a:ext uri="{FF2B5EF4-FFF2-40B4-BE49-F238E27FC236}">
                <a16:creationId xmlns:a16="http://schemas.microsoft.com/office/drawing/2014/main" id="{BC75648E-EC89-463D-A92D-A53437652C29}"/>
              </a:ext>
            </a:extLst>
          </p:cNvPr>
          <p:cNvSpPr>
            <a:spLocks noGrp="1"/>
          </p:cNvSpPr>
          <p:nvPr>
            <p:ph type="body" sz="quarter" idx="25"/>
          </p:nvPr>
        </p:nvSpPr>
        <p:spPr/>
        <p:txBody>
          <a:bodyPr/>
          <a:lstStyle/>
          <a:p>
            <a:r>
              <a:rPr lang="de-DE" dirty="0"/>
              <a:t>Steven Levy</a:t>
            </a:r>
          </a:p>
        </p:txBody>
      </p:sp>
      <p:sp>
        <p:nvSpPr>
          <p:cNvPr id="13" name="Textplatzhalter 12">
            <a:extLst>
              <a:ext uri="{FF2B5EF4-FFF2-40B4-BE49-F238E27FC236}">
                <a16:creationId xmlns:a16="http://schemas.microsoft.com/office/drawing/2014/main" id="{338CE47D-6DF2-422B-966D-334A78570C7A}"/>
              </a:ext>
            </a:extLst>
          </p:cNvPr>
          <p:cNvSpPr>
            <a:spLocks noGrp="1"/>
          </p:cNvSpPr>
          <p:nvPr>
            <p:ph type="body" sz="quarter" idx="26"/>
          </p:nvPr>
        </p:nvSpPr>
        <p:spPr/>
        <p:txBody>
          <a:bodyPr/>
          <a:lstStyle/>
          <a:p>
            <a:pPr marL="355500" indent="-342900">
              <a:buFont typeface="+mj-lt"/>
              <a:buAutoNum type="arabicPeriod"/>
            </a:pPr>
            <a:r>
              <a:rPr lang="de-DE" dirty="0"/>
              <a:t>Freier Informations- </a:t>
            </a:r>
            <a:r>
              <a:rPr lang="de-DE" b="1" dirty="0"/>
              <a:t>und</a:t>
            </a:r>
            <a:r>
              <a:rPr lang="de-DE" dirty="0"/>
              <a:t> Hardware-Zugang</a:t>
            </a:r>
          </a:p>
          <a:p>
            <a:pPr marL="355500" indent="-342900">
              <a:buFont typeface="+mj-lt"/>
              <a:buAutoNum type="arabicPeriod"/>
            </a:pPr>
            <a:r>
              <a:rPr lang="de-DE" dirty="0" err="1"/>
              <a:t>Dezentralismus</a:t>
            </a:r>
            <a:endParaRPr lang="de-DE" dirty="0"/>
          </a:p>
          <a:p>
            <a:pPr marL="355500" indent="-342900">
              <a:buFont typeface="+mj-lt"/>
              <a:buAutoNum type="arabicPeriod"/>
            </a:pPr>
            <a:r>
              <a:rPr lang="de-DE" dirty="0"/>
              <a:t>Gleichheit</a:t>
            </a:r>
          </a:p>
          <a:p>
            <a:pPr marL="355500" indent="-342900">
              <a:buFont typeface="+mj-lt"/>
              <a:buAutoNum type="arabicPeriod"/>
            </a:pPr>
            <a:r>
              <a:rPr lang="de-DE" dirty="0"/>
              <a:t>Kunst mit Computern</a:t>
            </a:r>
          </a:p>
          <a:p>
            <a:pPr marL="355500" indent="-342900">
              <a:buFont typeface="+mj-lt"/>
              <a:buAutoNum type="arabicPeriod"/>
            </a:pPr>
            <a:r>
              <a:rPr lang="de-DE" dirty="0"/>
              <a:t>Verbesserung des Lebens durch Computer</a:t>
            </a:r>
          </a:p>
          <a:p>
            <a:pPr marL="355500" indent="-342900">
              <a:buFont typeface="+mj-lt"/>
              <a:buAutoNum type="arabicPeriod"/>
            </a:pPr>
            <a:endParaRPr lang="de-DE" dirty="0"/>
          </a:p>
          <a:p>
            <a:pPr marL="355500" indent="-342900">
              <a:buFont typeface="+mj-lt"/>
              <a:buAutoNum type="arabicPeriod"/>
            </a:pPr>
            <a:endParaRPr lang="de-DE" dirty="0"/>
          </a:p>
          <a:p>
            <a:pPr marL="355500" indent="-342900">
              <a:buFont typeface="+mj-lt"/>
              <a:buAutoNum type="arabicPeriod"/>
            </a:pPr>
            <a:endParaRPr lang="de-DE" dirty="0"/>
          </a:p>
          <a:p>
            <a:pPr marL="355500" indent="-342900">
              <a:buFont typeface="+mj-lt"/>
              <a:buAutoNum type="arabicPeriod"/>
            </a:pPr>
            <a:endParaRPr lang="de-DE" dirty="0"/>
          </a:p>
        </p:txBody>
      </p:sp>
      <p:sp>
        <p:nvSpPr>
          <p:cNvPr id="14" name="Textplatzhalter 13">
            <a:extLst>
              <a:ext uri="{FF2B5EF4-FFF2-40B4-BE49-F238E27FC236}">
                <a16:creationId xmlns:a16="http://schemas.microsoft.com/office/drawing/2014/main" id="{740C0249-4849-4556-8D48-DB0B287AC83C}"/>
              </a:ext>
            </a:extLst>
          </p:cNvPr>
          <p:cNvSpPr>
            <a:spLocks noGrp="1"/>
          </p:cNvSpPr>
          <p:nvPr>
            <p:ph type="body" sz="quarter" idx="27"/>
          </p:nvPr>
        </p:nvSpPr>
        <p:spPr/>
        <p:txBody>
          <a:bodyPr/>
          <a:lstStyle/>
          <a:p>
            <a:r>
              <a:rPr lang="de-DE" dirty="0"/>
              <a:t>Erweiterung von Levy um 2 Punkte und eine Bearbeitung</a:t>
            </a:r>
          </a:p>
          <a:p>
            <a:pPr marL="355500" indent="-342900">
              <a:buFont typeface="+mj-lt"/>
              <a:buAutoNum type="arabicPeriod"/>
            </a:pPr>
            <a:r>
              <a:rPr lang="de-DE" dirty="0" err="1"/>
              <a:t>Privatssphäre</a:t>
            </a:r>
            <a:endParaRPr lang="de-DE" dirty="0"/>
          </a:p>
          <a:p>
            <a:pPr marL="355500" indent="-342900">
              <a:buFont typeface="+mj-lt"/>
              <a:buAutoNum type="arabicPeriod"/>
            </a:pPr>
            <a:r>
              <a:rPr lang="de-DE" dirty="0"/>
              <a:t>Herausstellung des Ethischen Gedanken</a:t>
            </a:r>
          </a:p>
          <a:p>
            <a:endParaRPr lang="de-DE" dirty="0"/>
          </a:p>
        </p:txBody>
      </p:sp>
      <p:sp>
        <p:nvSpPr>
          <p:cNvPr id="15" name="Textplatzhalter 14">
            <a:extLst>
              <a:ext uri="{FF2B5EF4-FFF2-40B4-BE49-F238E27FC236}">
                <a16:creationId xmlns:a16="http://schemas.microsoft.com/office/drawing/2014/main" id="{232DA6D5-1010-4AEA-A6EA-359308BC1283}"/>
              </a:ext>
            </a:extLst>
          </p:cNvPr>
          <p:cNvSpPr>
            <a:spLocks noGrp="1"/>
          </p:cNvSpPr>
          <p:nvPr>
            <p:ph type="body" sz="quarter" idx="28"/>
          </p:nvPr>
        </p:nvSpPr>
        <p:spPr/>
        <p:txBody>
          <a:bodyPr/>
          <a:lstStyle/>
          <a:p>
            <a:r>
              <a:rPr lang="de-DE" dirty="0"/>
              <a:t>CCC</a:t>
            </a:r>
          </a:p>
        </p:txBody>
      </p:sp>
    </p:spTree>
    <p:extLst>
      <p:ext uri="{BB962C8B-B14F-4D97-AF65-F5344CB8AC3E}">
        <p14:creationId xmlns:p14="http://schemas.microsoft.com/office/powerpoint/2010/main" val="2310307967"/>
      </p:ext>
    </p:extLst>
  </p:cSld>
  <p:clrMapOvr>
    <a:masterClrMapping/>
  </p:clrMapOvr>
  <p:extLst>
    <p:ext uri="{6950BFC3-D8DA-4A85-94F7-54DA5524770B}">
      <p188:commentRel xmlns:p188="http://schemas.microsoft.com/office/powerpoint/2018/8/main" r:id="rId2"/>
    </p:ext>
  </p:extLs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2"/>
          <a:srcRect l="20230" r="20230"/>
          <a:stretch/>
        </p:blipFill>
        <p:spPr>
          <a:noFill/>
          <a:ln w="12700">
            <a:solidFill>
              <a:schemeClr val="bg1"/>
            </a:solidFill>
          </a:ln>
        </p:spPr>
      </p:pic>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p:txBody>
          <a:bodyPr>
            <a:normAutofit/>
          </a:bodyPr>
          <a:lstStyle/>
          <a:p>
            <a:r>
              <a:rPr lang="de-DE" sz="4800" dirty="0"/>
              <a:t>White-Hats</a:t>
            </a:r>
          </a:p>
          <a:p>
            <a:r>
              <a:rPr lang="de-DE" sz="4800" dirty="0"/>
              <a:t>und Black-Hats</a:t>
            </a:r>
            <a:endParaRPr lang="de-DE" sz="6000" dirty="0"/>
          </a:p>
        </p:txBody>
      </p:sp>
    </p:spTree>
    <p:extLst>
      <p:ext uri="{BB962C8B-B14F-4D97-AF65-F5344CB8AC3E}">
        <p14:creationId xmlns:p14="http://schemas.microsoft.com/office/powerpoint/2010/main" val="35945064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B2376D7-7E3C-45A6-AB1E-F8BFDA81DFD3}"/>
              </a:ext>
            </a:extLst>
          </p:cNvPr>
          <p:cNvSpPr>
            <a:spLocks noGrp="1"/>
          </p:cNvSpPr>
          <p:nvPr>
            <p:ph type="title"/>
          </p:nvPr>
        </p:nvSpPr>
        <p:spPr/>
        <p:txBody>
          <a:bodyPr/>
          <a:lstStyle/>
          <a:p>
            <a:r>
              <a:rPr lang="de-DE" dirty="0"/>
              <a:t>White-Hats (</a:t>
            </a:r>
            <a:r>
              <a:rPr lang="de-DE" dirty="0" err="1"/>
              <a:t>Ethical</a:t>
            </a:r>
            <a:r>
              <a:rPr lang="de-DE" dirty="0"/>
              <a:t> Hacking)</a:t>
            </a:r>
          </a:p>
        </p:txBody>
      </p:sp>
      <p:sp>
        <p:nvSpPr>
          <p:cNvPr id="5" name="Inhaltsplatzhalter 4">
            <a:extLst>
              <a:ext uri="{FF2B5EF4-FFF2-40B4-BE49-F238E27FC236}">
                <a16:creationId xmlns:a16="http://schemas.microsoft.com/office/drawing/2014/main" id="{B0F64FFD-5FCE-41BC-903A-D0A45963AB3E}"/>
              </a:ext>
            </a:extLst>
          </p:cNvPr>
          <p:cNvSpPr>
            <a:spLocks noGrp="1"/>
          </p:cNvSpPr>
          <p:nvPr>
            <p:ph idx="1"/>
          </p:nvPr>
        </p:nvSpPr>
        <p:spPr>
          <a:xfrm>
            <a:off x="719400" y="1674000"/>
            <a:ext cx="10753200" cy="4644000"/>
          </a:xfrm>
        </p:spPr>
        <p:txBody>
          <a:bodyPr/>
          <a:lstStyle/>
          <a:p>
            <a:pPr marL="298350" indent="-285750">
              <a:buFont typeface="Arial" panose="020B0604020202020204" pitchFamily="34" charset="0"/>
              <a:buChar char="•"/>
            </a:pPr>
            <a:r>
              <a:rPr lang="de-DE" dirty="0"/>
              <a:t>Begriffserklärung</a:t>
            </a:r>
          </a:p>
          <a:p>
            <a:pPr marL="298350" indent="-285750">
              <a:buFont typeface="Arial" panose="020B0604020202020204" pitchFamily="34" charset="0"/>
              <a:buChar char="•"/>
            </a:pPr>
            <a:r>
              <a:rPr lang="de-DE" dirty="0"/>
              <a:t>Begriff: Samurai (http://www.catb.org/jargon/html/S/samurai.html)</a:t>
            </a:r>
          </a:p>
        </p:txBody>
      </p:sp>
      <p:sp>
        <p:nvSpPr>
          <p:cNvPr id="6" name="Untertitel 5">
            <a:extLst>
              <a:ext uri="{FF2B5EF4-FFF2-40B4-BE49-F238E27FC236}">
                <a16:creationId xmlns:a16="http://schemas.microsoft.com/office/drawing/2014/main" id="{9DC4B91F-6840-44CD-BAD5-B24D790AA599}"/>
              </a:ext>
            </a:extLst>
          </p:cNvPr>
          <p:cNvSpPr>
            <a:spLocks noGrp="1"/>
          </p:cNvSpPr>
          <p:nvPr>
            <p:ph type="subTitle" idx="13"/>
          </p:nvPr>
        </p:nvSpPr>
        <p:spPr/>
        <p:txBody>
          <a:bodyPr/>
          <a:lstStyle/>
          <a:p>
            <a:r>
              <a:rPr lang="de-DE" dirty="0"/>
              <a:t>White-Hats und Black-Hats</a:t>
            </a:r>
          </a:p>
        </p:txBody>
      </p:sp>
    </p:spTree>
    <p:extLst>
      <p:ext uri="{BB962C8B-B14F-4D97-AF65-F5344CB8AC3E}">
        <p14:creationId xmlns:p14="http://schemas.microsoft.com/office/powerpoint/2010/main" val="34426102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34114008-611E-442A-A754-CD9D9F772811}"/>
              </a:ext>
            </a:extLst>
          </p:cNvPr>
          <p:cNvSpPr>
            <a:spLocks noGrp="1"/>
          </p:cNvSpPr>
          <p:nvPr>
            <p:ph type="title"/>
          </p:nvPr>
        </p:nvSpPr>
        <p:spPr/>
        <p:txBody>
          <a:bodyPr/>
          <a:lstStyle/>
          <a:p>
            <a:r>
              <a:rPr lang="de-DE" dirty="0"/>
              <a:t>Agenda</a:t>
            </a:r>
          </a:p>
        </p:txBody>
      </p:sp>
      <p:sp>
        <p:nvSpPr>
          <p:cNvPr id="5" name="Textplatzhalter 4">
            <a:extLst>
              <a:ext uri="{FF2B5EF4-FFF2-40B4-BE49-F238E27FC236}">
                <a16:creationId xmlns:a16="http://schemas.microsoft.com/office/drawing/2014/main" id="{D004A7FA-E887-4B62-8B7A-F0F1CE7A576A}"/>
              </a:ext>
            </a:extLst>
          </p:cNvPr>
          <p:cNvSpPr>
            <a:spLocks noGrp="1"/>
          </p:cNvSpPr>
          <p:nvPr>
            <p:ph type="body" sz="quarter" idx="13"/>
          </p:nvPr>
        </p:nvSpPr>
        <p:spPr/>
        <p:txBody>
          <a:bodyPr/>
          <a:lstStyle/>
          <a:p>
            <a:r>
              <a:rPr lang="de-DE" dirty="0"/>
              <a:t>1</a:t>
            </a:r>
          </a:p>
        </p:txBody>
      </p:sp>
      <p:sp>
        <p:nvSpPr>
          <p:cNvPr id="6" name="Textplatzhalter 5">
            <a:extLst>
              <a:ext uri="{FF2B5EF4-FFF2-40B4-BE49-F238E27FC236}">
                <a16:creationId xmlns:a16="http://schemas.microsoft.com/office/drawing/2014/main" id="{E3E27A5B-619E-4463-886D-6CA74148F945}"/>
              </a:ext>
            </a:extLst>
          </p:cNvPr>
          <p:cNvSpPr>
            <a:spLocks noGrp="1"/>
          </p:cNvSpPr>
          <p:nvPr>
            <p:ph type="body" sz="quarter" idx="14"/>
          </p:nvPr>
        </p:nvSpPr>
        <p:spPr/>
        <p:txBody>
          <a:bodyPr/>
          <a:lstStyle/>
          <a:p>
            <a:r>
              <a:rPr lang="de-DE" dirty="0"/>
              <a:t>Geschichtlicher Hintergrund</a:t>
            </a:r>
          </a:p>
        </p:txBody>
      </p:sp>
      <p:sp>
        <p:nvSpPr>
          <p:cNvPr id="7" name="Textplatzhalter 6">
            <a:extLst>
              <a:ext uri="{FF2B5EF4-FFF2-40B4-BE49-F238E27FC236}">
                <a16:creationId xmlns:a16="http://schemas.microsoft.com/office/drawing/2014/main" id="{9D58C145-E0A9-433C-878E-3CB0D229B72A}"/>
              </a:ext>
            </a:extLst>
          </p:cNvPr>
          <p:cNvSpPr>
            <a:spLocks noGrp="1"/>
          </p:cNvSpPr>
          <p:nvPr>
            <p:ph type="body" sz="quarter" idx="15"/>
          </p:nvPr>
        </p:nvSpPr>
        <p:spPr/>
        <p:txBody>
          <a:bodyPr/>
          <a:lstStyle/>
          <a:p>
            <a:r>
              <a:rPr lang="de-DE" dirty="0"/>
              <a:t>2</a:t>
            </a:r>
          </a:p>
        </p:txBody>
      </p:sp>
      <p:sp>
        <p:nvSpPr>
          <p:cNvPr id="8" name="Textplatzhalter 7">
            <a:extLst>
              <a:ext uri="{FF2B5EF4-FFF2-40B4-BE49-F238E27FC236}">
                <a16:creationId xmlns:a16="http://schemas.microsoft.com/office/drawing/2014/main" id="{F8DA6802-F644-47B9-A970-15278C2404C2}"/>
              </a:ext>
            </a:extLst>
          </p:cNvPr>
          <p:cNvSpPr>
            <a:spLocks noGrp="1"/>
          </p:cNvSpPr>
          <p:nvPr>
            <p:ph type="body" sz="quarter" idx="16"/>
          </p:nvPr>
        </p:nvSpPr>
        <p:spPr/>
        <p:txBody>
          <a:bodyPr/>
          <a:lstStyle/>
          <a:p>
            <a:r>
              <a:rPr lang="de-DE" dirty="0"/>
              <a:t>Hackerethik</a:t>
            </a:r>
          </a:p>
        </p:txBody>
      </p:sp>
      <p:sp>
        <p:nvSpPr>
          <p:cNvPr id="9" name="Textplatzhalter 8">
            <a:extLst>
              <a:ext uri="{FF2B5EF4-FFF2-40B4-BE49-F238E27FC236}">
                <a16:creationId xmlns:a16="http://schemas.microsoft.com/office/drawing/2014/main" id="{E6FA53A8-133D-4065-AE39-D064EC292343}"/>
              </a:ext>
            </a:extLst>
          </p:cNvPr>
          <p:cNvSpPr>
            <a:spLocks noGrp="1"/>
          </p:cNvSpPr>
          <p:nvPr>
            <p:ph type="body" sz="quarter" idx="17"/>
          </p:nvPr>
        </p:nvSpPr>
        <p:spPr>
          <a:xfrm>
            <a:off x="1388853" y="2864741"/>
            <a:ext cx="452077" cy="454456"/>
          </a:xfrm>
        </p:spPr>
        <p:txBody>
          <a:bodyPr/>
          <a:lstStyle/>
          <a:p>
            <a:r>
              <a:rPr lang="de-DE" dirty="0"/>
              <a:t>2.1</a:t>
            </a:r>
          </a:p>
        </p:txBody>
      </p:sp>
      <p:sp>
        <p:nvSpPr>
          <p:cNvPr id="10" name="Textplatzhalter 9">
            <a:extLst>
              <a:ext uri="{FF2B5EF4-FFF2-40B4-BE49-F238E27FC236}">
                <a16:creationId xmlns:a16="http://schemas.microsoft.com/office/drawing/2014/main" id="{D68A5245-99B2-4A44-806A-CF23BB4251EE}"/>
              </a:ext>
            </a:extLst>
          </p:cNvPr>
          <p:cNvSpPr>
            <a:spLocks noGrp="1"/>
          </p:cNvSpPr>
          <p:nvPr>
            <p:ph type="body" sz="quarter" idx="18"/>
          </p:nvPr>
        </p:nvSpPr>
        <p:spPr>
          <a:xfrm>
            <a:off x="2058905" y="2864741"/>
            <a:ext cx="10083148" cy="454456"/>
          </a:xfrm>
        </p:spPr>
        <p:txBody>
          <a:bodyPr/>
          <a:lstStyle/>
          <a:p>
            <a:r>
              <a:rPr lang="de-DE" dirty="0"/>
              <a:t>Grundsätze</a:t>
            </a:r>
          </a:p>
        </p:txBody>
      </p:sp>
      <p:sp>
        <p:nvSpPr>
          <p:cNvPr id="11" name="Textplatzhalter 10">
            <a:extLst>
              <a:ext uri="{FF2B5EF4-FFF2-40B4-BE49-F238E27FC236}">
                <a16:creationId xmlns:a16="http://schemas.microsoft.com/office/drawing/2014/main" id="{DC38C929-DB4C-4BA5-8DD3-9A4FB5DA80F7}"/>
              </a:ext>
            </a:extLst>
          </p:cNvPr>
          <p:cNvSpPr>
            <a:spLocks noGrp="1"/>
          </p:cNvSpPr>
          <p:nvPr>
            <p:ph type="body" sz="quarter" idx="19"/>
          </p:nvPr>
        </p:nvSpPr>
        <p:spPr>
          <a:xfrm>
            <a:off x="1388853" y="3463247"/>
            <a:ext cx="452077" cy="454456"/>
          </a:xfrm>
        </p:spPr>
        <p:txBody>
          <a:bodyPr/>
          <a:lstStyle/>
          <a:p>
            <a:r>
              <a:rPr lang="de-DE" dirty="0"/>
              <a:t>2.2</a:t>
            </a:r>
          </a:p>
        </p:txBody>
      </p:sp>
      <p:sp>
        <p:nvSpPr>
          <p:cNvPr id="12" name="Textplatzhalter 11">
            <a:extLst>
              <a:ext uri="{FF2B5EF4-FFF2-40B4-BE49-F238E27FC236}">
                <a16:creationId xmlns:a16="http://schemas.microsoft.com/office/drawing/2014/main" id="{98E507F6-6689-4AFB-B3EF-C8BA2FE519C5}"/>
              </a:ext>
            </a:extLst>
          </p:cNvPr>
          <p:cNvSpPr>
            <a:spLocks noGrp="1"/>
          </p:cNvSpPr>
          <p:nvPr>
            <p:ph type="body" sz="quarter" idx="20"/>
          </p:nvPr>
        </p:nvSpPr>
        <p:spPr>
          <a:xfrm>
            <a:off x="2058905" y="3463247"/>
            <a:ext cx="10083148" cy="454456"/>
          </a:xfrm>
        </p:spPr>
        <p:txBody>
          <a:bodyPr/>
          <a:lstStyle/>
          <a:p>
            <a:r>
              <a:rPr lang="de-DE" dirty="0"/>
              <a:t>Freiheit</a:t>
            </a:r>
          </a:p>
        </p:txBody>
      </p:sp>
      <p:sp>
        <p:nvSpPr>
          <p:cNvPr id="13" name="Textplatzhalter 12">
            <a:extLst>
              <a:ext uri="{FF2B5EF4-FFF2-40B4-BE49-F238E27FC236}">
                <a16:creationId xmlns:a16="http://schemas.microsoft.com/office/drawing/2014/main" id="{FA8160A0-DAFD-454B-881E-1239CFBC7ECE}"/>
              </a:ext>
            </a:extLst>
          </p:cNvPr>
          <p:cNvSpPr>
            <a:spLocks noGrp="1"/>
          </p:cNvSpPr>
          <p:nvPr>
            <p:ph type="body" sz="quarter" idx="21"/>
          </p:nvPr>
        </p:nvSpPr>
        <p:spPr>
          <a:xfrm>
            <a:off x="1388853" y="4055482"/>
            <a:ext cx="452077" cy="454456"/>
          </a:xfrm>
        </p:spPr>
        <p:txBody>
          <a:bodyPr/>
          <a:lstStyle/>
          <a:p>
            <a:r>
              <a:rPr lang="de-DE" dirty="0"/>
              <a:t>2.3</a:t>
            </a:r>
          </a:p>
        </p:txBody>
      </p:sp>
      <p:sp>
        <p:nvSpPr>
          <p:cNvPr id="14" name="Textplatzhalter 13">
            <a:extLst>
              <a:ext uri="{FF2B5EF4-FFF2-40B4-BE49-F238E27FC236}">
                <a16:creationId xmlns:a16="http://schemas.microsoft.com/office/drawing/2014/main" id="{2DDE3C1A-D220-4967-B006-B2121B16A98B}"/>
              </a:ext>
            </a:extLst>
          </p:cNvPr>
          <p:cNvSpPr>
            <a:spLocks noGrp="1"/>
          </p:cNvSpPr>
          <p:nvPr>
            <p:ph type="body" sz="quarter" idx="22"/>
          </p:nvPr>
        </p:nvSpPr>
        <p:spPr>
          <a:xfrm>
            <a:off x="2058905" y="4055482"/>
            <a:ext cx="10083148" cy="454456"/>
          </a:xfrm>
        </p:spPr>
        <p:txBody>
          <a:bodyPr/>
          <a:lstStyle/>
          <a:p>
            <a:r>
              <a:rPr lang="de-DE" dirty="0"/>
              <a:t>Hackerethik als Arbeitsethik</a:t>
            </a:r>
          </a:p>
        </p:txBody>
      </p:sp>
      <p:sp>
        <p:nvSpPr>
          <p:cNvPr id="15" name="Textplatzhalter 14">
            <a:extLst>
              <a:ext uri="{FF2B5EF4-FFF2-40B4-BE49-F238E27FC236}">
                <a16:creationId xmlns:a16="http://schemas.microsoft.com/office/drawing/2014/main" id="{7A9DD9CF-6EF5-49F9-967F-1F4BAD7C8DB2}"/>
              </a:ext>
            </a:extLst>
          </p:cNvPr>
          <p:cNvSpPr>
            <a:spLocks noGrp="1"/>
          </p:cNvSpPr>
          <p:nvPr>
            <p:ph type="body" sz="quarter" idx="23"/>
          </p:nvPr>
        </p:nvSpPr>
        <p:spPr/>
        <p:txBody>
          <a:bodyPr/>
          <a:lstStyle/>
          <a:p>
            <a:r>
              <a:rPr lang="de-DE" dirty="0"/>
              <a:t>3</a:t>
            </a:r>
          </a:p>
        </p:txBody>
      </p:sp>
      <p:sp>
        <p:nvSpPr>
          <p:cNvPr id="16" name="Textplatzhalter 15">
            <a:extLst>
              <a:ext uri="{FF2B5EF4-FFF2-40B4-BE49-F238E27FC236}">
                <a16:creationId xmlns:a16="http://schemas.microsoft.com/office/drawing/2014/main" id="{1F185D0F-8F47-4370-BC15-0EDB18FB25CA}"/>
              </a:ext>
            </a:extLst>
          </p:cNvPr>
          <p:cNvSpPr>
            <a:spLocks noGrp="1"/>
          </p:cNvSpPr>
          <p:nvPr>
            <p:ph type="body" sz="quarter" idx="24"/>
          </p:nvPr>
        </p:nvSpPr>
        <p:spPr/>
        <p:txBody>
          <a:bodyPr/>
          <a:lstStyle/>
          <a:p>
            <a:r>
              <a:rPr lang="de-DE" dirty="0"/>
              <a:t>Black-Hats und White-Hats</a:t>
            </a:r>
          </a:p>
        </p:txBody>
      </p:sp>
      <p:sp>
        <p:nvSpPr>
          <p:cNvPr id="17" name="Textplatzhalter 16">
            <a:extLst>
              <a:ext uri="{FF2B5EF4-FFF2-40B4-BE49-F238E27FC236}">
                <a16:creationId xmlns:a16="http://schemas.microsoft.com/office/drawing/2014/main" id="{32483089-B731-41B1-B93D-A2C5776BDD5C}"/>
              </a:ext>
            </a:extLst>
          </p:cNvPr>
          <p:cNvSpPr>
            <a:spLocks noGrp="1"/>
          </p:cNvSpPr>
          <p:nvPr>
            <p:ph type="body" sz="quarter" idx="25"/>
          </p:nvPr>
        </p:nvSpPr>
        <p:spPr/>
        <p:txBody>
          <a:bodyPr/>
          <a:lstStyle/>
          <a:p>
            <a:r>
              <a:rPr lang="de-DE" dirty="0"/>
              <a:t>4</a:t>
            </a:r>
          </a:p>
        </p:txBody>
      </p:sp>
      <p:sp>
        <p:nvSpPr>
          <p:cNvPr id="18" name="Textplatzhalter 17">
            <a:extLst>
              <a:ext uri="{FF2B5EF4-FFF2-40B4-BE49-F238E27FC236}">
                <a16:creationId xmlns:a16="http://schemas.microsoft.com/office/drawing/2014/main" id="{FBBC61C7-2C81-4ED4-87E9-4824CE45A606}"/>
              </a:ext>
            </a:extLst>
          </p:cNvPr>
          <p:cNvSpPr>
            <a:spLocks noGrp="1"/>
          </p:cNvSpPr>
          <p:nvPr>
            <p:ph type="body" sz="quarter" idx="26"/>
          </p:nvPr>
        </p:nvSpPr>
        <p:spPr/>
        <p:txBody>
          <a:bodyPr/>
          <a:lstStyle/>
          <a:p>
            <a:r>
              <a:rPr lang="de-DE" dirty="0" err="1"/>
              <a:t>Hacktivism</a:t>
            </a:r>
            <a:endParaRPr lang="de-DE" dirty="0"/>
          </a:p>
        </p:txBody>
      </p:sp>
      <p:sp>
        <p:nvSpPr>
          <p:cNvPr id="19" name="Textplatzhalter 18">
            <a:extLst>
              <a:ext uri="{FF2B5EF4-FFF2-40B4-BE49-F238E27FC236}">
                <a16:creationId xmlns:a16="http://schemas.microsoft.com/office/drawing/2014/main" id="{850CC9D5-96CC-4580-8393-950FD558EB76}"/>
              </a:ext>
            </a:extLst>
          </p:cNvPr>
          <p:cNvSpPr>
            <a:spLocks noGrp="1"/>
          </p:cNvSpPr>
          <p:nvPr>
            <p:ph type="body" sz="quarter" idx="27"/>
          </p:nvPr>
        </p:nvSpPr>
        <p:spPr/>
        <p:txBody>
          <a:bodyPr/>
          <a:lstStyle/>
          <a:p>
            <a:r>
              <a:rPr lang="de-DE" dirty="0"/>
              <a:t>5</a:t>
            </a:r>
          </a:p>
        </p:txBody>
      </p:sp>
      <p:sp>
        <p:nvSpPr>
          <p:cNvPr id="20" name="Textplatzhalter 19">
            <a:extLst>
              <a:ext uri="{FF2B5EF4-FFF2-40B4-BE49-F238E27FC236}">
                <a16:creationId xmlns:a16="http://schemas.microsoft.com/office/drawing/2014/main" id="{7441F932-2F80-407D-AE34-4D9F1ECDF5DA}"/>
              </a:ext>
            </a:extLst>
          </p:cNvPr>
          <p:cNvSpPr>
            <a:spLocks noGrp="1"/>
          </p:cNvSpPr>
          <p:nvPr>
            <p:ph type="body" sz="quarter" idx="28"/>
          </p:nvPr>
        </p:nvSpPr>
        <p:spPr/>
        <p:txBody>
          <a:bodyPr/>
          <a:lstStyle/>
          <a:p>
            <a:r>
              <a:rPr lang="de-DE" dirty="0"/>
              <a:t>Digitale Ethik vs. Hackerethik</a:t>
            </a:r>
          </a:p>
        </p:txBody>
      </p:sp>
      <p:sp>
        <p:nvSpPr>
          <p:cNvPr id="21" name="Datumsplatzhalter 20">
            <a:extLst>
              <a:ext uri="{FF2B5EF4-FFF2-40B4-BE49-F238E27FC236}">
                <a16:creationId xmlns:a16="http://schemas.microsoft.com/office/drawing/2014/main" id="{27D149F8-175B-4081-965E-C02F9D10511B}"/>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22" name="Fußzeilenplatzhalter 21">
            <a:extLst>
              <a:ext uri="{FF2B5EF4-FFF2-40B4-BE49-F238E27FC236}">
                <a16:creationId xmlns:a16="http://schemas.microsoft.com/office/drawing/2014/main" id="{07B0A01A-B7B8-4479-897B-050E784E80EA}"/>
              </a:ext>
            </a:extLst>
          </p:cNvPr>
          <p:cNvSpPr>
            <a:spLocks noGrp="1"/>
          </p:cNvSpPr>
          <p:nvPr>
            <p:ph type="ftr" sz="quarter" idx="30"/>
          </p:nvPr>
        </p:nvSpPr>
        <p:spPr>
          <a:xfrm>
            <a:off x="1785866" y="6500393"/>
            <a:ext cx="7296537" cy="217417"/>
          </a:xfrm>
        </p:spPr>
        <p:txBody>
          <a:bodyPr/>
          <a:lstStyle/>
          <a:p>
            <a:r>
              <a:rPr lang="de-DE"/>
              <a:t>|    Fußzeile Universität Augsburg</a:t>
            </a:r>
            <a:endParaRPr lang="de-DE" dirty="0"/>
          </a:p>
        </p:txBody>
      </p:sp>
      <p:sp>
        <p:nvSpPr>
          <p:cNvPr id="23" name="Foliennummernplatzhalter 22">
            <a:extLst>
              <a:ext uri="{FF2B5EF4-FFF2-40B4-BE49-F238E27FC236}">
                <a16:creationId xmlns:a16="http://schemas.microsoft.com/office/drawing/2014/main" id="{280ED7ED-E9C4-4638-AE85-2B7C19666896}"/>
              </a:ext>
            </a:extLst>
          </p:cNvPr>
          <p:cNvSpPr>
            <a:spLocks noGrp="1"/>
          </p:cNvSpPr>
          <p:nvPr>
            <p:ph type="sldNum" sz="quarter" idx="31"/>
          </p:nvPr>
        </p:nvSpPr>
        <p:spPr/>
        <p:txBody>
          <a:bodyPr/>
          <a:lstStyle/>
          <a:p>
            <a:fld id="{6567D7EC-8799-48C5-898A-08E264972062}" type="slidenum">
              <a:rPr lang="de-DE" smtClean="0"/>
              <a:pPr/>
              <a:t>2</a:t>
            </a:fld>
            <a:endParaRPr lang="de-DE" dirty="0"/>
          </a:p>
        </p:txBody>
      </p:sp>
    </p:spTree>
    <p:extLst>
      <p:ext uri="{BB962C8B-B14F-4D97-AF65-F5344CB8AC3E}">
        <p14:creationId xmlns:p14="http://schemas.microsoft.com/office/powerpoint/2010/main" val="39889273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B2376D7-7E3C-45A6-AB1E-F8BFDA81DFD3}"/>
              </a:ext>
            </a:extLst>
          </p:cNvPr>
          <p:cNvSpPr>
            <a:spLocks noGrp="1"/>
          </p:cNvSpPr>
          <p:nvPr>
            <p:ph type="title"/>
          </p:nvPr>
        </p:nvSpPr>
        <p:spPr/>
        <p:txBody>
          <a:bodyPr/>
          <a:lstStyle/>
          <a:p>
            <a:r>
              <a:rPr lang="de-DE" dirty="0"/>
              <a:t>Black-Hats (</a:t>
            </a:r>
            <a:r>
              <a:rPr lang="de-DE" dirty="0" err="1"/>
              <a:t>Ethical</a:t>
            </a:r>
            <a:r>
              <a:rPr lang="de-DE" dirty="0"/>
              <a:t> Hacking)</a:t>
            </a:r>
          </a:p>
        </p:txBody>
      </p:sp>
      <p:sp>
        <p:nvSpPr>
          <p:cNvPr id="5" name="Inhaltsplatzhalter 4">
            <a:extLst>
              <a:ext uri="{FF2B5EF4-FFF2-40B4-BE49-F238E27FC236}">
                <a16:creationId xmlns:a16="http://schemas.microsoft.com/office/drawing/2014/main" id="{B0F64FFD-5FCE-41BC-903A-D0A45963AB3E}"/>
              </a:ext>
            </a:extLst>
          </p:cNvPr>
          <p:cNvSpPr>
            <a:spLocks noGrp="1"/>
          </p:cNvSpPr>
          <p:nvPr>
            <p:ph idx="1"/>
          </p:nvPr>
        </p:nvSpPr>
        <p:spPr>
          <a:xfrm>
            <a:off x="719400" y="1674000"/>
            <a:ext cx="10753200" cy="4644000"/>
          </a:xfrm>
        </p:spPr>
        <p:txBody>
          <a:bodyPr/>
          <a:lstStyle/>
          <a:p>
            <a:pPr marL="298350" indent="-285750">
              <a:buFont typeface="Arial" panose="020B0604020202020204" pitchFamily="34" charset="0"/>
              <a:buChar char="•"/>
            </a:pPr>
            <a:r>
              <a:rPr lang="de-DE" dirty="0"/>
              <a:t>Begriffserklärung</a:t>
            </a:r>
          </a:p>
          <a:p>
            <a:pPr marL="298350" indent="-285750">
              <a:buFont typeface="Arial" panose="020B0604020202020204" pitchFamily="34" charset="0"/>
              <a:buChar char="•"/>
            </a:pPr>
            <a:r>
              <a:rPr lang="de-DE" dirty="0"/>
              <a:t>Begriff: Samurai (http://www.catb.org/jargon/html/S/samurai.html)</a:t>
            </a:r>
          </a:p>
        </p:txBody>
      </p:sp>
      <p:sp>
        <p:nvSpPr>
          <p:cNvPr id="6" name="Untertitel 5">
            <a:extLst>
              <a:ext uri="{FF2B5EF4-FFF2-40B4-BE49-F238E27FC236}">
                <a16:creationId xmlns:a16="http://schemas.microsoft.com/office/drawing/2014/main" id="{9DC4B91F-6840-44CD-BAD5-B24D790AA599}"/>
              </a:ext>
            </a:extLst>
          </p:cNvPr>
          <p:cNvSpPr>
            <a:spLocks noGrp="1"/>
          </p:cNvSpPr>
          <p:nvPr>
            <p:ph type="subTitle" idx="13"/>
          </p:nvPr>
        </p:nvSpPr>
        <p:spPr/>
        <p:txBody>
          <a:bodyPr/>
          <a:lstStyle/>
          <a:p>
            <a:r>
              <a:rPr lang="de-DE" dirty="0"/>
              <a:t>White-Hats und Black-Hats</a:t>
            </a:r>
          </a:p>
        </p:txBody>
      </p:sp>
    </p:spTree>
    <p:extLst>
      <p:ext uri="{BB962C8B-B14F-4D97-AF65-F5344CB8AC3E}">
        <p14:creationId xmlns:p14="http://schemas.microsoft.com/office/powerpoint/2010/main" val="4246409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B2376D7-7E3C-45A6-AB1E-F8BFDA81DFD3}"/>
              </a:ext>
            </a:extLst>
          </p:cNvPr>
          <p:cNvSpPr>
            <a:spLocks noGrp="1"/>
          </p:cNvSpPr>
          <p:nvPr>
            <p:ph type="title"/>
          </p:nvPr>
        </p:nvSpPr>
        <p:spPr/>
        <p:txBody>
          <a:bodyPr/>
          <a:lstStyle/>
          <a:p>
            <a:r>
              <a:rPr lang="de-DE" dirty="0"/>
              <a:t>Grey-Hats</a:t>
            </a:r>
          </a:p>
        </p:txBody>
      </p:sp>
      <p:sp>
        <p:nvSpPr>
          <p:cNvPr id="5" name="Inhaltsplatzhalter 4">
            <a:extLst>
              <a:ext uri="{FF2B5EF4-FFF2-40B4-BE49-F238E27FC236}">
                <a16:creationId xmlns:a16="http://schemas.microsoft.com/office/drawing/2014/main" id="{B0F64FFD-5FCE-41BC-903A-D0A45963AB3E}"/>
              </a:ext>
            </a:extLst>
          </p:cNvPr>
          <p:cNvSpPr>
            <a:spLocks noGrp="1"/>
          </p:cNvSpPr>
          <p:nvPr>
            <p:ph idx="1"/>
          </p:nvPr>
        </p:nvSpPr>
        <p:spPr>
          <a:xfrm>
            <a:off x="719400" y="1674000"/>
            <a:ext cx="10753200" cy="4644000"/>
          </a:xfrm>
        </p:spPr>
        <p:txBody>
          <a:bodyPr/>
          <a:lstStyle/>
          <a:p>
            <a:pPr marL="298350" indent="-285750">
              <a:buFont typeface="Arial" panose="020B0604020202020204" pitchFamily="34" charset="0"/>
              <a:buChar char="•"/>
            </a:pPr>
            <a:r>
              <a:rPr lang="de-DE" dirty="0"/>
              <a:t>Begriffserklärung</a:t>
            </a:r>
          </a:p>
          <a:p>
            <a:pPr marL="298350" indent="-285750">
              <a:buFont typeface="Arial" panose="020B0604020202020204" pitchFamily="34" charset="0"/>
              <a:buChar char="•"/>
            </a:pPr>
            <a:r>
              <a:rPr lang="de-DE" dirty="0"/>
              <a:t>Begriff: Samurai (</a:t>
            </a:r>
            <a:r>
              <a:rPr lang="de-DE" dirty="0">
                <a:hlinkClick r:id="rId2"/>
              </a:rPr>
              <a:t>http://www.catb.org/jargon/html/S/samurai.html</a:t>
            </a:r>
            <a:r>
              <a:rPr lang="de-DE" dirty="0"/>
              <a:t>)</a:t>
            </a:r>
          </a:p>
          <a:p>
            <a:pPr marL="298350" indent="-285750">
              <a:buFont typeface="Arial" panose="020B0604020202020204" pitchFamily="34" charset="0"/>
              <a:buChar char="•"/>
            </a:pPr>
            <a:r>
              <a:rPr lang="de-DE" dirty="0"/>
              <a:t>Überleitung zu </a:t>
            </a:r>
            <a:r>
              <a:rPr lang="de-DE" dirty="0" err="1"/>
              <a:t>Hacktivism</a:t>
            </a:r>
            <a:endParaRPr lang="de-DE" dirty="0"/>
          </a:p>
          <a:p>
            <a:pPr marL="298350" indent="-285750">
              <a:buFont typeface="Arial" panose="020B0604020202020204" pitchFamily="34" charset="0"/>
              <a:buChar char="•"/>
            </a:pPr>
            <a:r>
              <a:rPr lang="de-DE" dirty="0"/>
              <a:t>Wie kann man ethisch Handeln, wenn man eine Sicherheitslücke gefunden hat</a:t>
            </a:r>
          </a:p>
        </p:txBody>
      </p:sp>
      <p:sp>
        <p:nvSpPr>
          <p:cNvPr id="6" name="Untertitel 5">
            <a:extLst>
              <a:ext uri="{FF2B5EF4-FFF2-40B4-BE49-F238E27FC236}">
                <a16:creationId xmlns:a16="http://schemas.microsoft.com/office/drawing/2014/main" id="{9DC4B91F-6840-44CD-BAD5-B24D790AA599}"/>
              </a:ext>
            </a:extLst>
          </p:cNvPr>
          <p:cNvSpPr>
            <a:spLocks noGrp="1"/>
          </p:cNvSpPr>
          <p:nvPr>
            <p:ph type="subTitle" idx="13"/>
          </p:nvPr>
        </p:nvSpPr>
        <p:spPr/>
        <p:txBody>
          <a:bodyPr/>
          <a:lstStyle/>
          <a:p>
            <a:r>
              <a:rPr lang="de-DE" dirty="0"/>
              <a:t>White-Hats und Black-Hats</a:t>
            </a:r>
          </a:p>
        </p:txBody>
      </p:sp>
    </p:spTree>
    <p:extLst>
      <p:ext uri="{BB962C8B-B14F-4D97-AF65-F5344CB8AC3E}">
        <p14:creationId xmlns:p14="http://schemas.microsoft.com/office/powerpoint/2010/main" val="369071464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p:txBody>
          <a:bodyPr>
            <a:normAutofit/>
          </a:bodyPr>
          <a:lstStyle/>
          <a:p>
            <a:r>
              <a:rPr lang="de-DE" sz="4800" dirty="0" err="1"/>
              <a:t>Hacktivism</a:t>
            </a:r>
            <a:endParaRPr lang="de-DE" sz="6000" dirty="0"/>
          </a:p>
        </p:txBody>
      </p:sp>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2"/>
          <a:srcRect l="19939" r="19939"/>
          <a:stretch/>
        </p:blipFill>
        <p:spPr>
          <a:noFill/>
          <a:ln w="12700">
            <a:solidFill>
              <a:schemeClr val="bg1"/>
            </a:solidFill>
          </a:ln>
        </p:spPr>
      </p:pic>
    </p:spTree>
    <p:extLst>
      <p:ext uri="{BB962C8B-B14F-4D97-AF65-F5344CB8AC3E}">
        <p14:creationId xmlns:p14="http://schemas.microsoft.com/office/powerpoint/2010/main" val="9605153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Begriffserklärung</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Unterschiedliche Definition von </a:t>
            </a:r>
            <a:r>
              <a:rPr lang="de-DE" dirty="0" err="1"/>
              <a:t>Hacktivism</a:t>
            </a:r>
            <a:endParaRPr lang="de-DE" dirty="0"/>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err="1"/>
              <a:t>Hacktivism</a:t>
            </a:r>
            <a:endParaRPr lang="de-DE" dirty="0"/>
          </a:p>
        </p:txBody>
      </p:sp>
    </p:spTree>
    <p:extLst>
      <p:ext uri="{BB962C8B-B14F-4D97-AF65-F5344CB8AC3E}">
        <p14:creationId xmlns:p14="http://schemas.microsoft.com/office/powerpoint/2010/main" val="420741775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Gruppen und Aktionen</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Unterschiedliche Definition von </a:t>
            </a:r>
            <a:r>
              <a:rPr lang="de-DE" dirty="0" err="1"/>
              <a:t>Hacktivism</a:t>
            </a:r>
            <a:endParaRPr lang="de-DE" dirty="0"/>
          </a:p>
          <a:p>
            <a:pPr marL="298350" indent="-285750">
              <a:buFont typeface="Arial" panose="020B0604020202020204" pitchFamily="34" charset="0"/>
              <a:buChar char="•"/>
            </a:pPr>
            <a:r>
              <a:rPr lang="de-DE" dirty="0"/>
              <a:t>Unterschiedliche Gruppen (Überblick): WikiLeaks, Anonymous, …</a:t>
            </a:r>
          </a:p>
          <a:p>
            <a:pPr marL="298350" indent="-285750">
              <a:buFont typeface="Arial" panose="020B0604020202020204" pitchFamily="34" charset="0"/>
              <a:buChar char="•"/>
            </a:pPr>
            <a:r>
              <a:rPr lang="de-DE" dirty="0"/>
              <a:t>Einzelne Aktionen</a:t>
            </a:r>
          </a:p>
          <a:p>
            <a:pPr marL="298350" indent="-285750">
              <a:buFont typeface="Arial" panose="020B0604020202020204" pitchFamily="34" charset="0"/>
              <a:buChar char="•"/>
            </a:pPr>
            <a:r>
              <a:rPr lang="de-DE" dirty="0"/>
              <a:t>Meinungs-Bots</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err="1"/>
              <a:t>Hacktivism</a:t>
            </a:r>
            <a:endParaRPr lang="de-DE" dirty="0"/>
          </a:p>
        </p:txBody>
      </p:sp>
    </p:spTree>
    <p:extLst>
      <p:ext uri="{BB962C8B-B14F-4D97-AF65-F5344CB8AC3E}">
        <p14:creationId xmlns:p14="http://schemas.microsoft.com/office/powerpoint/2010/main" val="13252573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2"/>
          <a:srcRect l="20058" r="20058"/>
          <a:stretch/>
        </p:blipFill>
        <p:spPr>
          <a:noFill/>
          <a:ln w="12700">
            <a:solidFill>
              <a:schemeClr val="bg1"/>
            </a:solidFill>
          </a:ln>
        </p:spPr>
      </p:pic>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p:txBody>
          <a:bodyPr>
            <a:normAutofit/>
          </a:bodyPr>
          <a:lstStyle/>
          <a:p>
            <a:r>
              <a:rPr lang="de-DE" sz="4800" dirty="0"/>
              <a:t>Digitale Ethik vs. Hackerethik</a:t>
            </a:r>
          </a:p>
        </p:txBody>
      </p:sp>
    </p:spTree>
    <p:extLst>
      <p:ext uri="{BB962C8B-B14F-4D97-AF65-F5344CB8AC3E}">
        <p14:creationId xmlns:p14="http://schemas.microsoft.com/office/powerpoint/2010/main" val="330152899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Berührungspunkte mit der Digitalen Ethik</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Grenze zur Hackerethik ist fließend</a:t>
            </a:r>
          </a:p>
          <a:p>
            <a:pPr marL="298350" indent="-285750">
              <a:buFont typeface="Arial" panose="020B0604020202020204" pitchFamily="34" charset="0"/>
              <a:buChar char="•"/>
            </a:pPr>
            <a:r>
              <a:rPr lang="de-DE" dirty="0" err="1"/>
              <a:t>Proffesionsethik</a:t>
            </a:r>
            <a:r>
              <a:rPr lang="de-DE" dirty="0"/>
              <a:t> (Hackerethik als Vorbild) https://www.bvdw.org/fileadmin/bvdw/upload/dokumente/BVDW_Digitale_Ethik.pdf</a:t>
            </a:r>
          </a:p>
          <a:p>
            <a:pPr marL="298350" indent="-285750">
              <a:buFont typeface="Arial" panose="020B0604020202020204" pitchFamily="34" charset="0"/>
              <a:buChar char="•"/>
            </a:pPr>
            <a:r>
              <a:rPr lang="de-DE" dirty="0"/>
              <a:t>Folie 37</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a:t>Digitale Ethik vs. Hackerethik</a:t>
            </a:r>
          </a:p>
        </p:txBody>
      </p:sp>
    </p:spTree>
    <p:extLst>
      <p:ext uri="{BB962C8B-B14F-4D97-AF65-F5344CB8AC3E}">
        <p14:creationId xmlns:p14="http://schemas.microsoft.com/office/powerpoint/2010/main" val="40822449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Dimensionen der Digitalen Ethik</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Folie 33</a:t>
            </a:r>
          </a:p>
          <a:p>
            <a:pPr marL="298350" indent="-285750">
              <a:buFont typeface="Arial" panose="020B0604020202020204" pitchFamily="34" charset="0"/>
              <a:buChar char="•"/>
            </a:pPr>
            <a:r>
              <a:rPr lang="de-DE" dirty="0"/>
              <a:t>Ethischer Umgang mit Daten wird vom CCC gefordert/formuliert („… private Daten schützen“)</a:t>
            </a:r>
          </a:p>
          <a:p>
            <a:pPr marL="501750" lvl="1" indent="-285750">
              <a:buFont typeface="Arial" panose="020B0604020202020204" pitchFamily="34" charset="0"/>
              <a:buChar char="•"/>
            </a:pPr>
            <a:r>
              <a:rPr lang="de-DE" dirty="0"/>
              <a:t>Clash : „Alle Informationen sollen frei zugänglich sein“</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a:t>Digitale Ethik vs. Hackerethik</a:t>
            </a:r>
          </a:p>
        </p:txBody>
      </p:sp>
    </p:spTree>
    <p:extLst>
      <p:ext uri="{BB962C8B-B14F-4D97-AF65-F5344CB8AC3E}">
        <p14:creationId xmlns:p14="http://schemas.microsoft.com/office/powerpoint/2010/main" val="971360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platzhalter 12">
            <a:extLst>
              <a:ext uri="{FF2B5EF4-FFF2-40B4-BE49-F238E27FC236}">
                <a16:creationId xmlns:a16="http://schemas.microsoft.com/office/drawing/2014/main" id="{958C8EFD-8ED2-4999-8070-BAD8FBC2673D}"/>
              </a:ext>
            </a:extLst>
          </p:cNvPr>
          <p:cNvSpPr>
            <a:spLocks noGrp="1"/>
          </p:cNvSpPr>
          <p:nvPr>
            <p:ph type="body" sz="quarter" idx="10"/>
          </p:nvPr>
        </p:nvSpPr>
        <p:spPr/>
        <p:txBody>
          <a:bodyPr/>
          <a:lstStyle/>
          <a:p>
            <a:r>
              <a:rPr lang="de-DE" dirty="0"/>
              <a:t>Luca Alfano</a:t>
            </a:r>
          </a:p>
          <a:p>
            <a:r>
              <a:rPr lang="de-DE" dirty="0"/>
              <a:t>Lehrstuhl / Institut</a:t>
            </a:r>
          </a:p>
          <a:p>
            <a:r>
              <a:rPr lang="de-DE" dirty="0"/>
              <a:t>Universität Augsburg</a:t>
            </a:r>
          </a:p>
          <a:p>
            <a:r>
              <a:rPr lang="de-DE" dirty="0" err="1"/>
              <a:t>email@uni-augsburg.de</a:t>
            </a:r>
            <a:endParaRPr lang="de-DE" dirty="0"/>
          </a:p>
        </p:txBody>
      </p:sp>
      <p:sp>
        <p:nvSpPr>
          <p:cNvPr id="14" name="Textplatzhalter 13">
            <a:extLst>
              <a:ext uri="{FF2B5EF4-FFF2-40B4-BE49-F238E27FC236}">
                <a16:creationId xmlns:a16="http://schemas.microsoft.com/office/drawing/2014/main" id="{5C3ADB8D-A92F-4059-B0DE-2A8BCAFF3B25}"/>
              </a:ext>
            </a:extLst>
          </p:cNvPr>
          <p:cNvSpPr>
            <a:spLocks noGrp="1"/>
          </p:cNvSpPr>
          <p:nvPr>
            <p:ph type="body" sz="quarter" idx="11"/>
          </p:nvPr>
        </p:nvSpPr>
        <p:spPr/>
        <p:txBody>
          <a:bodyPr/>
          <a:lstStyle/>
          <a:p>
            <a:r>
              <a:rPr lang="de-DE" dirty="0"/>
              <a:t>Vielen Dank für Ihre Aufmerksamkeit</a:t>
            </a:r>
          </a:p>
          <a:p>
            <a:endParaRPr lang="de-DE" dirty="0"/>
          </a:p>
        </p:txBody>
      </p:sp>
      <p:sp>
        <p:nvSpPr>
          <p:cNvPr id="7" name="Bildplatzhalter 6">
            <a:extLst>
              <a:ext uri="{FF2B5EF4-FFF2-40B4-BE49-F238E27FC236}">
                <a16:creationId xmlns:a16="http://schemas.microsoft.com/office/drawing/2014/main" id="{FC7495D9-6FF6-448E-9076-97779994C904}"/>
              </a:ext>
            </a:extLst>
          </p:cNvPr>
          <p:cNvSpPr>
            <a:spLocks noGrp="1"/>
          </p:cNvSpPr>
          <p:nvPr>
            <p:ph type="pic" sz="quarter" idx="16"/>
          </p:nvPr>
        </p:nvSpPr>
        <p:spPr/>
      </p:sp>
      <p:sp>
        <p:nvSpPr>
          <p:cNvPr id="65" name="Textplatzhalter 64">
            <a:extLst>
              <a:ext uri="{FF2B5EF4-FFF2-40B4-BE49-F238E27FC236}">
                <a16:creationId xmlns:a16="http://schemas.microsoft.com/office/drawing/2014/main" id="{3C373004-4E37-4823-A1BC-8DCB3D717007}"/>
              </a:ext>
            </a:extLst>
          </p:cNvPr>
          <p:cNvSpPr>
            <a:spLocks noGrp="1"/>
          </p:cNvSpPr>
          <p:nvPr>
            <p:ph type="body" sz="quarter" idx="17"/>
          </p:nvPr>
        </p:nvSpPr>
        <p:spPr/>
        <p:txBody>
          <a:bodyPr/>
          <a:lstStyle/>
          <a:p>
            <a:r>
              <a:rPr lang="de-DE" dirty="0"/>
              <a:t>Frantz Prochaska</a:t>
            </a:r>
          </a:p>
          <a:p>
            <a:r>
              <a:rPr lang="de-DE" dirty="0"/>
              <a:t>Lehrstuhl / Institut</a:t>
            </a:r>
          </a:p>
          <a:p>
            <a:r>
              <a:rPr lang="de-DE" dirty="0"/>
              <a:t>Universität</a:t>
            </a:r>
          </a:p>
          <a:p>
            <a:r>
              <a:rPr lang="de-DE" dirty="0"/>
              <a:t>email</a:t>
            </a:r>
          </a:p>
        </p:txBody>
      </p:sp>
      <p:pic>
        <p:nvPicPr>
          <p:cNvPr id="17" name="Logo_Basis_neg." hidden="1">
            <a:extLst>
              <a:ext uri="{FF2B5EF4-FFF2-40B4-BE49-F238E27FC236}">
                <a16:creationId xmlns:a16="http://schemas.microsoft.com/office/drawing/2014/main" id="{6AC61FE3-5CBC-418D-98AD-C9A9EF9BD2A5}"/>
              </a:ext>
            </a:extLst>
          </p:cNvPr>
          <p:cNvPicPr>
            <a:picLocks noMove="1" noResize="1"/>
          </p:cNvPicPr>
          <p:nvPr>
            <p:custDataLst>
              <p:tags r:id="rId1"/>
            </p:custDataLst>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5802425" y="834469"/>
            <a:ext cx="3819144" cy="682752"/>
          </a:xfrm>
          <a:prstGeom prst="rect">
            <a:avLst/>
          </a:prstGeom>
        </p:spPr>
      </p:pic>
      <p:pic>
        <p:nvPicPr>
          <p:cNvPr id="18" name="Logo_FAI_neg.">
            <a:extLst>
              <a:ext uri="{FF2B5EF4-FFF2-40B4-BE49-F238E27FC236}">
                <a16:creationId xmlns:a16="http://schemas.microsoft.com/office/drawing/2014/main" id="{8CD572CD-A2C6-4C77-95C5-2BD938D806DD}"/>
              </a:ext>
            </a:extLst>
          </p:cNvPr>
          <p:cNvPicPr>
            <a:picLocks noMove="1" noResize="1"/>
          </p:cNvPicPr>
          <p:nvPr>
            <p:custDataLst>
              <p:tags r:id="rId2"/>
            </p:custDataLst>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802425" y="834469"/>
            <a:ext cx="3819144" cy="682752"/>
          </a:xfrm>
          <a:prstGeom prst="rect">
            <a:avLst/>
          </a:prstGeom>
        </p:spPr>
      </p:pic>
      <p:pic>
        <p:nvPicPr>
          <p:cNvPr id="19" name="Logo_JUF_neg." hidden="1">
            <a:extLst>
              <a:ext uri="{FF2B5EF4-FFF2-40B4-BE49-F238E27FC236}">
                <a16:creationId xmlns:a16="http://schemas.microsoft.com/office/drawing/2014/main" id="{8C938CBF-B102-4F16-9D88-4F080ECB021C}"/>
              </a:ext>
            </a:extLst>
          </p:cNvPr>
          <p:cNvPicPr>
            <a:picLocks noMove="1" noResize="1"/>
          </p:cNvPicPr>
          <p:nvPr>
            <p:custDataLst>
              <p:tags r:id="rId3"/>
            </p:custDataLst>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5802425" y="834469"/>
            <a:ext cx="3819144" cy="682752"/>
          </a:xfrm>
          <a:prstGeom prst="rect">
            <a:avLst/>
          </a:prstGeom>
        </p:spPr>
      </p:pic>
      <p:pic>
        <p:nvPicPr>
          <p:cNvPr id="20" name="Logo_KTF_neg." hidden="1">
            <a:extLst>
              <a:ext uri="{FF2B5EF4-FFF2-40B4-BE49-F238E27FC236}">
                <a16:creationId xmlns:a16="http://schemas.microsoft.com/office/drawing/2014/main" id="{B5139A7A-2D4C-4228-B2B4-2B6CE472F1F4}"/>
              </a:ext>
            </a:extLst>
          </p:cNvPr>
          <p:cNvPicPr>
            <a:picLocks noMove="1" noResize="1"/>
          </p:cNvPicPr>
          <p:nvPr>
            <p:custDataLst>
              <p:tags r:id="rId4"/>
            </p:custDataLst>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5802425" y="834469"/>
            <a:ext cx="3819144" cy="682752"/>
          </a:xfrm>
          <a:prstGeom prst="rect">
            <a:avLst/>
          </a:prstGeom>
        </p:spPr>
      </p:pic>
      <p:pic>
        <p:nvPicPr>
          <p:cNvPr id="21" name="Logo_MEF_neg." hidden="1">
            <a:extLst>
              <a:ext uri="{FF2B5EF4-FFF2-40B4-BE49-F238E27FC236}">
                <a16:creationId xmlns:a16="http://schemas.microsoft.com/office/drawing/2014/main" id="{55F0D3CF-265C-41E7-BACD-DD5C4FAE1153}"/>
              </a:ext>
            </a:extLst>
          </p:cNvPr>
          <p:cNvPicPr>
            <a:picLocks noMove="1" noResize="1"/>
          </p:cNvPicPr>
          <p:nvPr>
            <p:custDataLst>
              <p:tags r:id="rId5"/>
            </p:custDataLst>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5802425" y="834469"/>
            <a:ext cx="3819144" cy="682752"/>
          </a:xfrm>
          <a:prstGeom prst="rect">
            <a:avLst/>
          </a:prstGeom>
        </p:spPr>
      </p:pic>
      <p:pic>
        <p:nvPicPr>
          <p:cNvPr id="22" name="Logo_MNTF_neg." hidden="1">
            <a:extLst>
              <a:ext uri="{FF2B5EF4-FFF2-40B4-BE49-F238E27FC236}">
                <a16:creationId xmlns:a16="http://schemas.microsoft.com/office/drawing/2014/main" id="{3DB813F1-08BC-419B-96DE-1427CB94CB70}"/>
              </a:ext>
            </a:extLst>
          </p:cNvPr>
          <p:cNvPicPr>
            <a:picLocks noMove="1" noResize="1"/>
          </p:cNvPicPr>
          <p:nvPr>
            <p:custDataLst>
              <p:tags r:id="rId6"/>
            </p:custDataLst>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5802425" y="834469"/>
            <a:ext cx="3819144" cy="682752"/>
          </a:xfrm>
          <a:prstGeom prst="rect">
            <a:avLst/>
          </a:prstGeom>
        </p:spPr>
      </p:pic>
      <p:pic>
        <p:nvPicPr>
          <p:cNvPr id="23" name="Logo_PHF_neg." hidden="1">
            <a:extLst>
              <a:ext uri="{FF2B5EF4-FFF2-40B4-BE49-F238E27FC236}">
                <a16:creationId xmlns:a16="http://schemas.microsoft.com/office/drawing/2014/main" id="{BFBCDFB9-BE0F-4B2A-A497-02D0E689D70B}"/>
              </a:ext>
            </a:extLst>
          </p:cNvPr>
          <p:cNvPicPr>
            <a:picLocks noMove="1" noResize="1"/>
          </p:cNvPicPr>
          <p:nvPr>
            <p:custDataLst>
              <p:tags r:id="rId7"/>
            </p:custDataLst>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5802425" y="834469"/>
            <a:ext cx="3819144" cy="682752"/>
          </a:xfrm>
          <a:prstGeom prst="rect">
            <a:avLst/>
          </a:prstGeom>
        </p:spPr>
      </p:pic>
      <p:pic>
        <p:nvPicPr>
          <p:cNvPr id="24" name="Logo_PSF_neg." hidden="1">
            <a:extLst>
              <a:ext uri="{FF2B5EF4-FFF2-40B4-BE49-F238E27FC236}">
                <a16:creationId xmlns:a16="http://schemas.microsoft.com/office/drawing/2014/main" id="{FFE953D3-9550-4A2C-B746-4B1048924FD3}"/>
              </a:ext>
            </a:extLst>
          </p:cNvPr>
          <p:cNvPicPr>
            <a:picLocks noMove="1" noResize="1"/>
          </p:cNvPicPr>
          <p:nvPr>
            <p:custDataLst>
              <p:tags r:id="rId8"/>
            </p:custDataLst>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5802425" y="834469"/>
            <a:ext cx="3819144" cy="682752"/>
          </a:xfrm>
          <a:prstGeom prst="rect">
            <a:avLst/>
          </a:prstGeom>
        </p:spPr>
      </p:pic>
      <p:pic>
        <p:nvPicPr>
          <p:cNvPr id="25" name="Logo_WWF_neg." hidden="1">
            <a:extLst>
              <a:ext uri="{FF2B5EF4-FFF2-40B4-BE49-F238E27FC236}">
                <a16:creationId xmlns:a16="http://schemas.microsoft.com/office/drawing/2014/main" id="{89966D50-F8F5-49CB-9C67-0C5372D0EB77}"/>
              </a:ext>
            </a:extLst>
          </p:cNvPr>
          <p:cNvPicPr>
            <a:picLocks noMove="1" noResize="1"/>
          </p:cNvPicPr>
          <p:nvPr>
            <p:custDataLst>
              <p:tags r:id="rId9"/>
            </p:custDataLst>
          </p:nvPr>
        </p:nvPicPr>
        <p:blipFill>
          <a:blip r:embed="rId27" cstate="screen">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5802425" y="834469"/>
            <a:ext cx="3819144" cy="682752"/>
          </a:xfrm>
          <a:prstGeom prst="rect">
            <a:avLst/>
          </a:prstGeom>
        </p:spPr>
      </p:pic>
      <p:sp>
        <p:nvSpPr>
          <p:cNvPr id="5" name="Bildplatzhalter 4">
            <a:extLst>
              <a:ext uri="{FF2B5EF4-FFF2-40B4-BE49-F238E27FC236}">
                <a16:creationId xmlns:a16="http://schemas.microsoft.com/office/drawing/2014/main" id="{341F3319-4AF2-44B7-842D-D529686FA126}"/>
              </a:ext>
            </a:extLst>
          </p:cNvPr>
          <p:cNvSpPr>
            <a:spLocks noGrp="1"/>
          </p:cNvSpPr>
          <p:nvPr>
            <p:ph type="pic" sz="quarter" idx="15"/>
          </p:nvPr>
        </p:nvSpPr>
        <p:spPr/>
      </p:sp>
    </p:spTree>
    <p:extLst>
      <p:ext uri="{BB962C8B-B14F-4D97-AF65-F5344CB8AC3E}">
        <p14:creationId xmlns:p14="http://schemas.microsoft.com/office/powerpoint/2010/main" val="36999117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platzhalter 8">
            <a:extLst>
              <a:ext uri="{FF2B5EF4-FFF2-40B4-BE49-F238E27FC236}">
                <a16:creationId xmlns:a16="http://schemas.microsoft.com/office/drawing/2014/main" id="{1174681B-6C38-4A09-BAC6-736FD6784142}"/>
              </a:ext>
            </a:extLst>
          </p:cNvPr>
          <p:cNvPicPr>
            <a:picLocks noGrp="1" noChangeAspect="1"/>
          </p:cNvPicPr>
          <p:nvPr>
            <p:ph type="pic" sz="quarter" idx="14"/>
          </p:nvPr>
        </p:nvPicPr>
        <p:blipFill>
          <a:blip r:embed="rId2"/>
          <a:srcRect l="22044" r="22044"/>
          <a:stretch>
            <a:fillRect/>
          </a:stretch>
        </p:blipFill>
        <p:spPr>
          <a:xfrm>
            <a:off x="6277202" y="1674000"/>
            <a:ext cx="5194800" cy="4644000"/>
          </a:xfrm>
        </p:spPr>
      </p:pic>
      <p:sp>
        <p:nvSpPr>
          <p:cNvPr id="4" name="Titel 3">
            <a:extLst>
              <a:ext uri="{FF2B5EF4-FFF2-40B4-BE49-F238E27FC236}">
                <a16:creationId xmlns:a16="http://schemas.microsoft.com/office/drawing/2014/main" id="{99ADA7B7-9E92-4E05-843C-A6FBE26B2977}"/>
              </a:ext>
            </a:extLst>
          </p:cNvPr>
          <p:cNvSpPr>
            <a:spLocks noGrp="1"/>
          </p:cNvSpPr>
          <p:nvPr>
            <p:ph type="title"/>
          </p:nvPr>
        </p:nvSpPr>
        <p:spPr/>
        <p:txBody>
          <a:bodyPr/>
          <a:lstStyle/>
          <a:p>
            <a:r>
              <a:rPr lang="de-DE" dirty="0"/>
              <a:t>Einführung</a:t>
            </a:r>
          </a:p>
        </p:txBody>
      </p:sp>
      <p:sp>
        <p:nvSpPr>
          <p:cNvPr id="5" name="Inhaltsplatzhalter 4">
            <a:extLst>
              <a:ext uri="{FF2B5EF4-FFF2-40B4-BE49-F238E27FC236}">
                <a16:creationId xmlns:a16="http://schemas.microsoft.com/office/drawing/2014/main" id="{30FCE5F8-8E07-4E18-9E2B-0808F5C964FE}"/>
              </a:ext>
            </a:extLst>
          </p:cNvPr>
          <p:cNvSpPr>
            <a:spLocks noGrp="1"/>
          </p:cNvSpPr>
          <p:nvPr>
            <p:ph sz="half" idx="1"/>
          </p:nvPr>
        </p:nvSpPr>
        <p:spPr/>
        <p:txBody>
          <a:bodyPr/>
          <a:lstStyle/>
          <a:p>
            <a:pPr marL="298350" indent="-285750">
              <a:buFont typeface="Arial" panose="020B0604020202020204" pitchFamily="34" charset="0"/>
              <a:buChar char="•"/>
            </a:pPr>
            <a:r>
              <a:rPr lang="de-DE" dirty="0"/>
              <a:t>Kurze Einführung</a:t>
            </a:r>
          </a:p>
          <a:p>
            <a:pPr marL="298350" indent="-285750">
              <a:buFont typeface="Arial" panose="020B0604020202020204" pitchFamily="34" charset="0"/>
              <a:buChar char="•"/>
            </a:pPr>
            <a:r>
              <a:rPr lang="de-DE" dirty="0"/>
              <a:t>Nachrichten, Überschriften</a:t>
            </a:r>
          </a:p>
          <a:p>
            <a:pPr marL="298350" indent="-285750">
              <a:buFont typeface="Arial" panose="020B0604020202020204" pitchFamily="34" charset="0"/>
              <a:buChar char="•"/>
            </a:pPr>
            <a:r>
              <a:rPr lang="de-DE" dirty="0"/>
              <a:t>Begriffe</a:t>
            </a:r>
          </a:p>
          <a:p>
            <a:pPr marL="298350" indent="-285750">
              <a:buFont typeface="Arial" panose="020B0604020202020204" pitchFamily="34" charset="0"/>
              <a:buChar char="•"/>
            </a:pPr>
            <a:r>
              <a:rPr lang="de-DE" dirty="0"/>
              <a:t>Cyberkriminalität Statistik, warum ist Hackerethik wichtig für uns</a:t>
            </a:r>
          </a:p>
        </p:txBody>
      </p:sp>
      <p:sp>
        <p:nvSpPr>
          <p:cNvPr id="6" name="Untertitel 5">
            <a:extLst>
              <a:ext uri="{FF2B5EF4-FFF2-40B4-BE49-F238E27FC236}">
                <a16:creationId xmlns:a16="http://schemas.microsoft.com/office/drawing/2014/main" id="{E3517AD6-E855-4752-802E-DEE9157A55FC}"/>
              </a:ext>
            </a:extLst>
          </p:cNvPr>
          <p:cNvSpPr>
            <a:spLocks noGrp="1"/>
          </p:cNvSpPr>
          <p:nvPr>
            <p:ph type="subTitle" idx="13"/>
          </p:nvPr>
        </p:nvSpPr>
        <p:spPr/>
        <p:txBody>
          <a:bodyPr/>
          <a:lstStyle/>
          <a:p>
            <a:r>
              <a:rPr lang="de-DE" dirty="0"/>
              <a:t>Motivation</a:t>
            </a:r>
          </a:p>
        </p:txBody>
      </p:sp>
    </p:spTree>
    <p:extLst>
      <p:ext uri="{BB962C8B-B14F-4D97-AF65-F5344CB8AC3E}">
        <p14:creationId xmlns:p14="http://schemas.microsoft.com/office/powerpoint/2010/main" val="12877335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el 15">
            <a:extLst>
              <a:ext uri="{FF2B5EF4-FFF2-40B4-BE49-F238E27FC236}">
                <a16:creationId xmlns:a16="http://schemas.microsoft.com/office/drawing/2014/main" id="{EDAA8A5B-2CDB-4258-ADE2-7ADEA75D4112}"/>
              </a:ext>
            </a:extLst>
          </p:cNvPr>
          <p:cNvSpPr>
            <a:spLocks noGrp="1"/>
          </p:cNvSpPr>
          <p:nvPr>
            <p:ph type="title"/>
          </p:nvPr>
        </p:nvSpPr>
        <p:spPr/>
        <p:txBody>
          <a:bodyPr/>
          <a:lstStyle/>
          <a:p>
            <a:r>
              <a:rPr lang="de-DE" dirty="0"/>
              <a:t>Cyberkriminalität</a:t>
            </a:r>
          </a:p>
        </p:txBody>
      </p:sp>
      <p:graphicFrame>
        <p:nvGraphicFramePr>
          <p:cNvPr id="22" name="Inhaltsplatzhalter 21">
            <a:extLst>
              <a:ext uri="{FF2B5EF4-FFF2-40B4-BE49-F238E27FC236}">
                <a16:creationId xmlns:a16="http://schemas.microsoft.com/office/drawing/2014/main" id="{94C6D055-430B-4880-A4F8-479B18DBA7BA}"/>
              </a:ext>
            </a:extLst>
          </p:cNvPr>
          <p:cNvGraphicFramePr>
            <a:graphicFrameLocks noGrp="1"/>
          </p:cNvGraphicFramePr>
          <p:nvPr>
            <p:ph sz="half" idx="1"/>
            <p:extLst>
              <p:ext uri="{D42A27DB-BD31-4B8C-83A1-F6EECF244321}">
                <p14:modId xmlns:p14="http://schemas.microsoft.com/office/powerpoint/2010/main" val="3584813474"/>
              </p:ext>
            </p:extLst>
          </p:nvPr>
        </p:nvGraphicFramePr>
        <p:xfrm>
          <a:off x="720725" y="1673225"/>
          <a:ext cx="5195888" cy="464502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5" name="Inhaltsplatzhalter 24">
            <a:extLst>
              <a:ext uri="{FF2B5EF4-FFF2-40B4-BE49-F238E27FC236}">
                <a16:creationId xmlns:a16="http://schemas.microsoft.com/office/drawing/2014/main" id="{933A662D-129B-474D-AAEC-B16C2763ECCF}"/>
              </a:ext>
            </a:extLst>
          </p:cNvPr>
          <p:cNvGraphicFramePr>
            <a:graphicFrameLocks noGrp="1"/>
          </p:cNvGraphicFramePr>
          <p:nvPr>
            <p:ph sz="half" idx="2"/>
            <p:extLst>
              <p:ext uri="{D42A27DB-BD31-4B8C-83A1-F6EECF244321}">
                <p14:modId xmlns:p14="http://schemas.microsoft.com/office/powerpoint/2010/main" val="2839135563"/>
              </p:ext>
            </p:extLst>
          </p:nvPr>
        </p:nvGraphicFramePr>
        <p:xfrm>
          <a:off x="6278563" y="1673225"/>
          <a:ext cx="5194300" cy="4645025"/>
        </p:xfrm>
        <a:graphic>
          <a:graphicData uri="http://schemas.openxmlformats.org/drawingml/2006/chart">
            <c:chart xmlns:c="http://schemas.openxmlformats.org/drawingml/2006/chart" xmlns:r="http://schemas.openxmlformats.org/officeDocument/2006/relationships" r:id="rId3"/>
          </a:graphicData>
        </a:graphic>
      </p:graphicFrame>
      <p:sp>
        <p:nvSpPr>
          <p:cNvPr id="19" name="Untertitel 18">
            <a:extLst>
              <a:ext uri="{FF2B5EF4-FFF2-40B4-BE49-F238E27FC236}">
                <a16:creationId xmlns:a16="http://schemas.microsoft.com/office/drawing/2014/main" id="{B07EBD6F-06FA-45E9-BE45-8BB8EB8C51F5}"/>
              </a:ext>
            </a:extLst>
          </p:cNvPr>
          <p:cNvSpPr>
            <a:spLocks noGrp="1"/>
          </p:cNvSpPr>
          <p:nvPr>
            <p:ph type="subTitle" idx="13"/>
          </p:nvPr>
        </p:nvSpPr>
        <p:spPr/>
        <p:txBody>
          <a:bodyPr/>
          <a:lstStyle/>
          <a:p>
            <a:r>
              <a:rPr lang="de-DE" dirty="0"/>
              <a:t>Motivation</a:t>
            </a:r>
          </a:p>
        </p:txBody>
      </p:sp>
      <p:sp>
        <p:nvSpPr>
          <p:cNvPr id="6" name="Fußzeilenplatzhalter 5">
            <a:extLst>
              <a:ext uri="{FF2B5EF4-FFF2-40B4-BE49-F238E27FC236}">
                <a16:creationId xmlns:a16="http://schemas.microsoft.com/office/drawing/2014/main" id="{3F355D4A-DFEE-466F-9370-B4E5D1822C01}"/>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DB44727A-BA6E-4EAA-AFC8-B53FE41BB49B}"/>
              </a:ext>
            </a:extLst>
          </p:cNvPr>
          <p:cNvSpPr>
            <a:spLocks noGrp="1"/>
          </p:cNvSpPr>
          <p:nvPr>
            <p:ph type="sldNum" sz="quarter" idx="16"/>
          </p:nvPr>
        </p:nvSpPr>
        <p:spPr/>
        <p:txBody>
          <a:bodyPr/>
          <a:lstStyle/>
          <a:p>
            <a:fld id="{6567D7EC-8799-48C5-898A-08E264972062}" type="slidenum">
              <a:rPr lang="de-DE" smtClean="0"/>
              <a:pPr/>
              <a:t>4</a:t>
            </a:fld>
            <a:endParaRPr lang="de-DE" dirty="0"/>
          </a:p>
        </p:txBody>
      </p:sp>
      <p:sp>
        <p:nvSpPr>
          <p:cNvPr id="8" name="Datumsplatzhalter 7">
            <a:extLst>
              <a:ext uri="{FF2B5EF4-FFF2-40B4-BE49-F238E27FC236}">
                <a16:creationId xmlns:a16="http://schemas.microsoft.com/office/drawing/2014/main" id="{477FE85B-3686-47CF-84C8-8641F1C6F1FB}"/>
              </a:ext>
            </a:extLst>
          </p:cNvPr>
          <p:cNvSpPr>
            <a:spLocks noGrp="1"/>
          </p:cNvSpPr>
          <p:nvPr>
            <p:ph type="dt" sz="half" idx="17"/>
          </p:nvPr>
        </p:nvSpPr>
        <p:spPr/>
        <p:txBody>
          <a:bodyPr/>
          <a:lstStyle/>
          <a:p>
            <a:r>
              <a:rPr lang="de-DE"/>
              <a:t>|    21.01.2022</a:t>
            </a:r>
            <a:endParaRPr lang="de-DE" sz="900" dirty="0"/>
          </a:p>
        </p:txBody>
      </p:sp>
    </p:spTree>
    <p:extLst>
      <p:ext uri="{BB962C8B-B14F-4D97-AF65-F5344CB8AC3E}">
        <p14:creationId xmlns:p14="http://schemas.microsoft.com/office/powerpoint/2010/main" val="5151816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CBFEAD60-5EDD-484F-BC69-759C25BFF667}"/>
              </a:ext>
            </a:extLst>
          </p:cNvPr>
          <p:cNvSpPr>
            <a:spLocks noGrp="1"/>
          </p:cNvSpPr>
          <p:nvPr>
            <p:ph type="body" sz="quarter" idx="11"/>
          </p:nvPr>
        </p:nvSpPr>
        <p:spPr>
          <a:xfrm>
            <a:off x="920688" y="2581571"/>
            <a:ext cx="4372618" cy="3813380"/>
          </a:xfrm>
        </p:spPr>
        <p:txBody>
          <a:bodyPr>
            <a:normAutofit/>
          </a:bodyPr>
          <a:lstStyle/>
          <a:p>
            <a:r>
              <a:rPr lang="de-DE" sz="4800" dirty="0"/>
              <a:t>Geschichtlicher Hintergrund</a:t>
            </a:r>
            <a:endParaRPr lang="de-DE" sz="6000" dirty="0"/>
          </a:p>
        </p:txBody>
      </p:sp>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a:blip r:embed="rId2"/>
          <a:srcRect l="23889" r="23889"/>
          <a:stretch>
            <a:fillRect/>
          </a:stretch>
        </p:blipFill>
        <p:spPr>
          <a:xfrm>
            <a:off x="6035763" y="766762"/>
            <a:ext cx="5561013" cy="5324475"/>
          </a:xfrm>
          <a:noFill/>
          <a:ln w="12700">
            <a:solidFill>
              <a:schemeClr val="bg1"/>
            </a:solidFill>
          </a:ln>
        </p:spPr>
      </p:pic>
    </p:spTree>
    <p:extLst>
      <p:ext uri="{BB962C8B-B14F-4D97-AF65-F5344CB8AC3E}">
        <p14:creationId xmlns:p14="http://schemas.microsoft.com/office/powerpoint/2010/main" val="29457723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ECABEAB9-2082-4615-A20E-B6D092B2E043}"/>
              </a:ext>
            </a:extLst>
          </p:cNvPr>
          <p:cNvSpPr>
            <a:spLocks noGrp="1"/>
          </p:cNvSpPr>
          <p:nvPr>
            <p:ph type="title"/>
          </p:nvPr>
        </p:nvSpPr>
        <p:spPr/>
        <p:txBody>
          <a:bodyPr/>
          <a:lstStyle/>
          <a:p>
            <a:r>
              <a:rPr lang="de-DE" dirty="0"/>
              <a:t>Das Bild eines Hackers</a:t>
            </a:r>
          </a:p>
        </p:txBody>
      </p:sp>
      <p:sp>
        <p:nvSpPr>
          <p:cNvPr id="11" name="Untertitel 10">
            <a:extLst>
              <a:ext uri="{FF2B5EF4-FFF2-40B4-BE49-F238E27FC236}">
                <a16:creationId xmlns:a16="http://schemas.microsoft.com/office/drawing/2014/main" id="{017DF2F4-5169-41EF-B560-A32560ABE552}"/>
              </a:ext>
            </a:extLst>
          </p:cNvPr>
          <p:cNvSpPr>
            <a:spLocks noGrp="1"/>
          </p:cNvSpPr>
          <p:nvPr>
            <p:ph type="subTitle" idx="13"/>
          </p:nvPr>
        </p:nvSpPr>
        <p:spPr/>
        <p:txBody>
          <a:bodyPr/>
          <a:lstStyle/>
          <a:p>
            <a:r>
              <a:rPr lang="de-DE" dirty="0"/>
              <a:t>Geschichtlicher Hintergrund</a:t>
            </a:r>
          </a:p>
        </p:txBody>
      </p:sp>
      <p:sp>
        <p:nvSpPr>
          <p:cNvPr id="7" name="Fußzeilenplatzhalter 6">
            <a:extLst>
              <a:ext uri="{FF2B5EF4-FFF2-40B4-BE49-F238E27FC236}">
                <a16:creationId xmlns:a16="http://schemas.microsoft.com/office/drawing/2014/main" id="{2506E1A6-27AC-4214-B4F9-06E7A26060AC}"/>
              </a:ext>
            </a:extLst>
          </p:cNvPr>
          <p:cNvSpPr>
            <a:spLocks noGrp="1"/>
          </p:cNvSpPr>
          <p:nvPr>
            <p:ph type="ftr" sz="quarter" idx="17"/>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A64CFD6-E4B6-4CFD-9B18-02DE6D594390}"/>
              </a:ext>
            </a:extLst>
          </p:cNvPr>
          <p:cNvSpPr>
            <a:spLocks noGrp="1"/>
          </p:cNvSpPr>
          <p:nvPr>
            <p:ph type="sldNum" sz="quarter" idx="18"/>
          </p:nvPr>
        </p:nvSpPr>
        <p:spPr/>
        <p:txBody>
          <a:bodyPr/>
          <a:lstStyle/>
          <a:p>
            <a:fld id="{6567D7EC-8799-48C5-898A-08E264972062}" type="slidenum">
              <a:rPr lang="de-DE" smtClean="0"/>
              <a:pPr/>
              <a:t>6</a:t>
            </a:fld>
            <a:endParaRPr lang="de-DE" dirty="0"/>
          </a:p>
        </p:txBody>
      </p:sp>
      <p:sp>
        <p:nvSpPr>
          <p:cNvPr id="6" name="Datumsplatzhalter 5">
            <a:extLst>
              <a:ext uri="{FF2B5EF4-FFF2-40B4-BE49-F238E27FC236}">
                <a16:creationId xmlns:a16="http://schemas.microsoft.com/office/drawing/2014/main" id="{61908B5E-1B53-4823-8AA5-0F49C2E3DF76}"/>
              </a:ext>
            </a:extLst>
          </p:cNvPr>
          <p:cNvSpPr>
            <a:spLocks noGrp="1"/>
          </p:cNvSpPr>
          <p:nvPr>
            <p:ph type="dt" sz="half" idx="2"/>
          </p:nvPr>
        </p:nvSpPr>
        <p:spPr/>
        <p:txBody>
          <a:bodyPr/>
          <a:lstStyle/>
          <a:p>
            <a:r>
              <a:rPr lang="de-DE" dirty="0"/>
              <a:t>|    15.02.2019</a:t>
            </a:r>
          </a:p>
        </p:txBody>
      </p:sp>
      <p:pic>
        <p:nvPicPr>
          <p:cNvPr id="42" name="Grafik 41">
            <a:extLst>
              <a:ext uri="{FF2B5EF4-FFF2-40B4-BE49-F238E27FC236}">
                <a16:creationId xmlns:a16="http://schemas.microsoft.com/office/drawing/2014/main" id="{5F79F449-A47A-4218-8748-303F1B956483}"/>
              </a:ext>
            </a:extLst>
          </p:cNvPr>
          <p:cNvPicPr>
            <a:picLocks noChangeAspect="1"/>
          </p:cNvPicPr>
          <p:nvPr/>
        </p:nvPicPr>
        <p:blipFill>
          <a:blip r:embed="rId3"/>
          <a:stretch>
            <a:fillRect/>
          </a:stretch>
        </p:blipFill>
        <p:spPr>
          <a:xfrm>
            <a:off x="719400" y="1711445"/>
            <a:ext cx="6722801" cy="4542416"/>
          </a:xfrm>
          <a:prstGeom prst="rect">
            <a:avLst/>
          </a:prstGeom>
        </p:spPr>
      </p:pic>
      <p:pic>
        <p:nvPicPr>
          <p:cNvPr id="52" name="Bildplatzhalter 51">
            <a:extLst>
              <a:ext uri="{FF2B5EF4-FFF2-40B4-BE49-F238E27FC236}">
                <a16:creationId xmlns:a16="http://schemas.microsoft.com/office/drawing/2014/main" id="{1F738A62-8ADF-4BC2-AF5B-B2C880D08DBC}"/>
              </a:ext>
            </a:extLst>
          </p:cNvPr>
          <p:cNvPicPr>
            <a:picLocks noGrp="1" noChangeAspect="1"/>
          </p:cNvPicPr>
          <p:nvPr>
            <p:ph type="pic" sz="quarter" idx="14"/>
          </p:nvPr>
        </p:nvPicPr>
        <p:blipFill>
          <a:blip r:embed="rId4"/>
          <a:srcRect l="22772" r="22772"/>
          <a:stretch>
            <a:fillRect/>
          </a:stretch>
        </p:blipFill>
        <p:spPr>
          <a:xfrm>
            <a:off x="7675300" y="1711445"/>
            <a:ext cx="3797300" cy="4473525"/>
          </a:xfrm>
        </p:spPr>
      </p:pic>
    </p:spTree>
    <p:extLst>
      <p:ext uri="{BB962C8B-B14F-4D97-AF65-F5344CB8AC3E}">
        <p14:creationId xmlns:p14="http://schemas.microsoft.com/office/powerpoint/2010/main" val="35029180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Begriff im Wandel der Zeit</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idx="1"/>
          </p:nvPr>
        </p:nvSpPr>
        <p:spPr/>
        <p:txBody>
          <a:bodyPr/>
          <a:lstStyle/>
          <a:p>
            <a:pPr marL="298350" indent="-285750">
              <a:buFont typeface="Arial" panose="020B0604020202020204" pitchFamily="34" charset="0"/>
              <a:buChar char="•"/>
            </a:pPr>
            <a:r>
              <a:rPr lang="de-DE" dirty="0"/>
              <a:t>Heutige (öffentliche) Bedeutung:</a:t>
            </a:r>
          </a:p>
          <a:p>
            <a:pPr marL="501750" lvl="1" indent="-285750">
              <a:buFont typeface="Arial" panose="020B0604020202020204" pitchFamily="34" charset="0"/>
              <a:buChar char="•"/>
            </a:pPr>
            <a:r>
              <a:rPr lang="de-DE" dirty="0"/>
              <a:t>Eine Person, die „durch geschicktes Ausprobieren und Anwenden verschiedener Computerprogramme mithilfe eines Rechners unberechtigt in andere Computersysteme eindringen“</a:t>
            </a:r>
          </a:p>
          <a:p>
            <a:pPr marL="298350" indent="-285750">
              <a:buFont typeface="Arial" panose="020B0604020202020204" pitchFamily="34" charset="0"/>
              <a:buChar char="•"/>
            </a:pPr>
            <a:r>
              <a:rPr lang="de-DE" dirty="0"/>
              <a:t>Hacker: Tüftler*innen, experimentierfreudige</a:t>
            </a:r>
          </a:p>
          <a:p>
            <a:pPr marL="501750" lvl="1" indent="-285750">
              <a:buFont typeface="Arial" panose="020B0604020202020204" pitchFamily="34" charset="0"/>
              <a:buChar char="•"/>
            </a:pPr>
            <a:r>
              <a:rPr lang="de-DE" dirty="0"/>
              <a:t>Hohe Technikaffinität und –wissen</a:t>
            </a:r>
          </a:p>
          <a:p>
            <a:pPr marL="501750" lvl="1" indent="-285750">
              <a:buFont typeface="Arial" panose="020B0604020202020204" pitchFamily="34" charset="0"/>
              <a:buChar char="•"/>
            </a:pPr>
            <a:r>
              <a:rPr lang="de-DE" dirty="0"/>
              <a:t>Nicht unbedingt </a:t>
            </a:r>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a:xfrm>
            <a:off x="1005443" y="6500393"/>
            <a:ext cx="806400" cy="217417"/>
          </a:xfrm>
        </p:spPr>
        <p:txBody>
          <a:bodyPr/>
          <a:lstStyle/>
          <a:p>
            <a:r>
              <a:rPr lang="de-DE" dirty="0"/>
              <a:t>|    15.02.2019</a:t>
            </a:r>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7</a:t>
            </a:fld>
            <a:endParaRPr lang="de-DE" dirty="0"/>
          </a:p>
        </p:txBody>
      </p:sp>
    </p:spTree>
    <p:extLst>
      <p:ext uri="{BB962C8B-B14F-4D97-AF65-F5344CB8AC3E}">
        <p14:creationId xmlns:p14="http://schemas.microsoft.com/office/powerpoint/2010/main" val="37743977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Begriff im Wandel der Zeit</a:t>
            </a:r>
          </a:p>
        </p:txBody>
      </p:sp>
      <p:sp>
        <p:nvSpPr>
          <p:cNvPr id="12" name="Inhaltsplatzhalter 11">
            <a:extLst>
              <a:ext uri="{FF2B5EF4-FFF2-40B4-BE49-F238E27FC236}">
                <a16:creationId xmlns:a16="http://schemas.microsoft.com/office/drawing/2014/main" id="{65E4B411-1998-4383-9F88-350221224C5D}"/>
              </a:ext>
            </a:extLst>
          </p:cNvPr>
          <p:cNvSpPr>
            <a:spLocks noGrp="1"/>
          </p:cNvSpPr>
          <p:nvPr>
            <p:ph sz="half" idx="1"/>
          </p:nvPr>
        </p:nvSpPr>
        <p:spPr/>
        <p:txBody>
          <a:bodyPr/>
          <a:lstStyle/>
          <a:p>
            <a:pPr marL="298350" indent="-285750">
              <a:buFont typeface="Arial" panose="020B0604020202020204" pitchFamily="34" charset="0"/>
              <a:buChar char="•"/>
            </a:pPr>
            <a:r>
              <a:rPr lang="de-DE" dirty="0"/>
              <a:t>Tech Model Railroad Club (1950er)</a:t>
            </a:r>
          </a:p>
          <a:p>
            <a:pPr marL="298350" indent="-285750">
              <a:buFont typeface="Arial" panose="020B0604020202020204" pitchFamily="34" charset="0"/>
              <a:buChar char="•"/>
            </a:pPr>
            <a:r>
              <a:rPr lang="de-DE" dirty="0"/>
              <a:t>Hackerkultur an akademischen Einrichtungen (1960er/1970er) </a:t>
            </a:r>
          </a:p>
          <a:p>
            <a:pPr marL="298350" indent="-285750">
              <a:buFont typeface="Arial" panose="020B0604020202020204" pitchFamily="34" charset="0"/>
              <a:buChar char="•"/>
            </a:pPr>
            <a:r>
              <a:rPr lang="de-DE" dirty="0" err="1"/>
              <a:t>Phreaking</a:t>
            </a:r>
            <a:r>
              <a:rPr lang="de-DE" dirty="0"/>
              <a:t> &amp; Heimcomputerszene (1970er)</a:t>
            </a:r>
          </a:p>
          <a:p>
            <a:pPr marL="298350" indent="-285750">
              <a:buFont typeface="Arial" panose="020B0604020202020204" pitchFamily="34" charset="0"/>
              <a:buChar char="•"/>
            </a:pPr>
            <a:r>
              <a:rPr lang="de-DE" dirty="0"/>
              <a:t>Cracker (1980er)</a:t>
            </a:r>
          </a:p>
          <a:p>
            <a:pPr marL="298350" indent="-285750">
              <a:buFont typeface="Arial" panose="020B0604020202020204" pitchFamily="34" charset="0"/>
              <a:buChar char="•"/>
            </a:pPr>
            <a:r>
              <a:rPr lang="de-DE" dirty="0"/>
              <a:t>Freie-Software/Open-Source/Freie-Hardware-Bewegung</a:t>
            </a:r>
          </a:p>
          <a:p>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8</a:t>
            </a:fld>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17"/>
          </p:nvPr>
        </p:nvSpPr>
        <p:spPr/>
        <p:txBody>
          <a:bodyPr/>
          <a:lstStyle/>
          <a:p>
            <a:r>
              <a:rPr lang="de-DE" dirty="0"/>
              <a:t>|    15.02.2019</a:t>
            </a:r>
          </a:p>
        </p:txBody>
      </p:sp>
      <p:graphicFrame>
        <p:nvGraphicFramePr>
          <p:cNvPr id="32" name="Diagramm 31">
            <a:extLst>
              <a:ext uri="{FF2B5EF4-FFF2-40B4-BE49-F238E27FC236}">
                <a16:creationId xmlns:a16="http://schemas.microsoft.com/office/drawing/2014/main" id="{AE82BFD2-82C8-4931-AFC7-A5DAB95AF380}"/>
              </a:ext>
            </a:extLst>
          </p:cNvPr>
          <p:cNvGraphicFramePr/>
          <p:nvPr>
            <p:extLst>
              <p:ext uri="{D42A27DB-BD31-4B8C-83A1-F6EECF244321}">
                <p14:modId xmlns:p14="http://schemas.microsoft.com/office/powerpoint/2010/main" val="4112936449"/>
              </p:ext>
            </p:extLst>
          </p:nvPr>
        </p:nvGraphicFramePr>
        <p:xfrm>
          <a:off x="6095999" y="1201194"/>
          <a:ext cx="5717309" cy="49371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252331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Begriff im Wandel der Zeit</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idx="1"/>
          </p:nvPr>
        </p:nvSpPr>
        <p:spPr/>
        <p:txBody>
          <a:bodyPr/>
          <a:lstStyle/>
          <a:p>
            <a:pPr marL="298350" indent="-285750">
              <a:buFont typeface="Arial" panose="020B0604020202020204" pitchFamily="34" charset="0"/>
              <a:buChar char="•"/>
            </a:pPr>
            <a:r>
              <a:rPr lang="de-DE" dirty="0"/>
              <a:t>Hacker Begriff (eigene Wahrnehmung vs. öffentliche)</a:t>
            </a:r>
          </a:p>
          <a:p>
            <a:pPr marL="298350" indent="-285750">
              <a:buFont typeface="Arial" panose="020B0604020202020204" pitchFamily="34" charset="0"/>
              <a:buChar char="•"/>
            </a:pPr>
            <a:r>
              <a:rPr lang="de-DE" dirty="0"/>
              <a:t>Geschichte von Hackern (von MIT bis heute)</a:t>
            </a:r>
          </a:p>
          <a:p>
            <a:pPr marL="298350" indent="-285750">
              <a:buFont typeface="Arial" panose="020B0604020202020204" pitchFamily="34" charset="0"/>
              <a:buChar char="•"/>
            </a:pPr>
            <a:r>
              <a:rPr lang="de-DE" dirty="0"/>
              <a:t>Cracker vs. Hacker (Abgrenzung der Hacker)</a:t>
            </a:r>
          </a:p>
          <a:p>
            <a:pPr marL="298350" indent="-285750">
              <a:buFont typeface="Arial" panose="020B0604020202020204" pitchFamily="34" charset="0"/>
              <a:buChar char="•"/>
            </a:pPr>
            <a:r>
              <a:rPr lang="de-DE" dirty="0" err="1"/>
              <a:t>Phreaker</a:t>
            </a:r>
            <a:r>
              <a:rPr lang="de-DE" dirty="0"/>
              <a:t> -&gt; Cracker -&gt; Demoszene</a:t>
            </a:r>
          </a:p>
          <a:p>
            <a:pPr marL="298350" indent="-285750">
              <a:buFont typeface="Arial" panose="020B0604020202020204" pitchFamily="34" charset="0"/>
              <a:buChar char="•"/>
            </a:pPr>
            <a:r>
              <a:rPr lang="de-DE" dirty="0"/>
              <a:t>Freie-Software/Open-Source/Freie-Hardware-Bewegung</a:t>
            </a:r>
          </a:p>
          <a:p>
            <a:pPr marL="298350" indent="-285750">
              <a:buFont typeface="Arial" panose="020B0604020202020204" pitchFamily="34" charset="0"/>
              <a:buChar char="•"/>
            </a:pPr>
            <a:r>
              <a:rPr lang="de-DE" dirty="0"/>
              <a:t>Wo ist CCC einzuordnen</a:t>
            </a:r>
          </a:p>
          <a:p>
            <a:pPr marL="298350" indent="-285750">
              <a:buFont typeface="Arial" panose="020B0604020202020204" pitchFamily="34" charset="0"/>
              <a:buChar char="•"/>
            </a:pPr>
            <a:r>
              <a:rPr lang="de-DE" dirty="0"/>
              <a:t>Geschichte von Hackerethik (1984), von CCC und Jargon File</a:t>
            </a:r>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a:xfrm>
            <a:off x="1005443" y="6500393"/>
            <a:ext cx="806400" cy="217417"/>
          </a:xfrm>
        </p:spPr>
        <p:txBody>
          <a:bodyPr/>
          <a:lstStyle/>
          <a:p>
            <a:r>
              <a:rPr lang="de-DE" dirty="0"/>
              <a:t>|    15.02.2019</a:t>
            </a:r>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9</a:t>
            </a:fld>
            <a:endParaRPr lang="de-DE" dirty="0"/>
          </a:p>
        </p:txBody>
      </p:sp>
    </p:spTree>
    <p:extLst>
      <p:ext uri="{BB962C8B-B14F-4D97-AF65-F5344CB8AC3E}">
        <p14:creationId xmlns:p14="http://schemas.microsoft.com/office/powerpoint/2010/main" val="15096807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1.125&quot; top=&quot;133.875&quot; width=&quot;657.75&quot; height=&quot;328.87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layoutId=&quot;1_1&quot; createSections=&quot;0&quot;&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 /&gt;&lt;/agenda&gt;&lt;agenda name=&quot;Guidelines&quot; title=&quot;Guidelines&quot; subtitle=&quot;&quot; sizingModeId=&quot;2&quot; fontSize=&quot;16&quot; fontSizeAuto=&quot;1&quot; startTime=&quot;540&quot; timeFormatId=&quot;1&quot; startItemNo=&quot;1&quot; createSingleAgendaSlide=&quot;1&quot; createSeparatingSlides=&quot;1&quot; createBackupSlide=&quot;1&quot; layoutId=&quot;1_1&quot; createSections=&quot;0&quot;&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 /&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SHAPE_LOCKS" val="3"/>
</p:tagLst>
</file>

<file path=ppt/tags/tag11.xml><?xml version="1.0" encoding="utf-8"?>
<p:tagLst xmlns:a="http://schemas.openxmlformats.org/drawingml/2006/main" xmlns:r="http://schemas.openxmlformats.org/officeDocument/2006/relationships" xmlns:p="http://schemas.openxmlformats.org/presentationml/2006/main">
  <p:tag name="SHAPE_LOCKS" val="3"/>
</p:tagLst>
</file>

<file path=ppt/tags/tag12.xml><?xml version="1.0" encoding="utf-8"?>
<p:tagLst xmlns:a="http://schemas.openxmlformats.org/drawingml/2006/main" xmlns:r="http://schemas.openxmlformats.org/officeDocument/2006/relationships" xmlns:p="http://schemas.openxmlformats.org/presentationml/2006/main">
  <p:tag name="SHAPE_LOCKS" val="3"/>
</p:tagLst>
</file>

<file path=ppt/tags/tag13.xml><?xml version="1.0" encoding="utf-8"?>
<p:tagLst xmlns:a="http://schemas.openxmlformats.org/drawingml/2006/main" xmlns:r="http://schemas.openxmlformats.org/officeDocument/2006/relationships" xmlns:p="http://schemas.openxmlformats.org/presentationml/2006/main">
  <p:tag name="SHAPE_LOCKS" val="3"/>
</p:tagLst>
</file>

<file path=ppt/tags/tag14.xml><?xml version="1.0" encoding="utf-8"?>
<p:tagLst xmlns:a="http://schemas.openxmlformats.org/drawingml/2006/main" xmlns:r="http://schemas.openxmlformats.org/officeDocument/2006/relationships" xmlns:p="http://schemas.openxmlformats.org/presentationml/2006/main">
  <p:tag name="SHAPE_LOCKS" val="3"/>
</p:tagLst>
</file>

<file path=ppt/tags/tag15.xml><?xml version="1.0" encoding="utf-8"?>
<p:tagLst xmlns:a="http://schemas.openxmlformats.org/drawingml/2006/main" xmlns:r="http://schemas.openxmlformats.org/officeDocument/2006/relationships" xmlns:p="http://schemas.openxmlformats.org/presentationml/2006/main">
  <p:tag name="SHAPE_LOCKS" val="3"/>
</p:tagLst>
</file>

<file path=ppt/tags/tag16.xml><?xml version="1.0" encoding="utf-8"?>
<p:tagLst xmlns:a="http://schemas.openxmlformats.org/drawingml/2006/main" xmlns:r="http://schemas.openxmlformats.org/officeDocument/2006/relationships" xmlns:p="http://schemas.openxmlformats.org/presentationml/2006/main">
  <p:tag name="SHAPE_LOCKS" val="3"/>
</p:tagLst>
</file>

<file path=ppt/tags/tag17.xml><?xml version="1.0" encoding="utf-8"?>
<p:tagLst xmlns:a="http://schemas.openxmlformats.org/drawingml/2006/main" xmlns:r="http://schemas.openxmlformats.org/officeDocument/2006/relationships" xmlns:p="http://schemas.openxmlformats.org/presentationml/2006/main">
  <p:tag name="SHAPE_LOCKS" val="3"/>
</p:tagLst>
</file>

<file path=ppt/tags/tag18.xml><?xml version="1.0" encoding="utf-8"?>
<p:tagLst xmlns:a="http://schemas.openxmlformats.org/drawingml/2006/main" xmlns:r="http://schemas.openxmlformats.org/officeDocument/2006/relationships" xmlns:p="http://schemas.openxmlformats.org/presentationml/2006/main">
  <p:tag name="SHAPE_LOCKS" val="3"/>
</p:tagLst>
</file>

<file path=ppt/tags/tag19.xml><?xml version="1.0" encoding="utf-8"?>
<p:tagLst xmlns:a="http://schemas.openxmlformats.org/drawingml/2006/main" xmlns:r="http://schemas.openxmlformats.org/officeDocument/2006/relationships" xmlns:p="http://schemas.openxmlformats.org/presentationml/2006/main">
  <p:tag name="SHAPE_LOCKS" val="3"/>
</p:tagLst>
</file>

<file path=ppt/tags/tag2.xml><?xml version="1.0" encoding="utf-8"?>
<p:tagLst xmlns:a="http://schemas.openxmlformats.org/drawingml/2006/main" xmlns:r="http://schemas.openxmlformats.org/officeDocument/2006/relationships" xmlns:p="http://schemas.openxmlformats.org/presentationml/2006/main">
  <p:tag name="SHAPE_LOCKS" val="7"/>
</p:tagLst>
</file>

<file path=ppt/tags/tag20.xml><?xml version="1.0" encoding="utf-8"?>
<p:tagLst xmlns:a="http://schemas.openxmlformats.org/drawingml/2006/main" xmlns:r="http://schemas.openxmlformats.org/officeDocument/2006/relationships" xmlns:p="http://schemas.openxmlformats.org/presentationml/2006/main">
  <p:tag name="SHAPE_LOCKS" val="3"/>
</p:tagLst>
</file>

<file path=ppt/tags/tag21.xml><?xml version="1.0" encoding="utf-8"?>
<p:tagLst xmlns:a="http://schemas.openxmlformats.org/drawingml/2006/main" xmlns:r="http://schemas.openxmlformats.org/officeDocument/2006/relationships" xmlns:p="http://schemas.openxmlformats.org/presentationml/2006/main">
  <p:tag name="SHAPE_LOCKS" val="3"/>
</p:tagLst>
</file>

<file path=ppt/tags/tag22.xml><?xml version="1.0" encoding="utf-8"?>
<p:tagLst xmlns:a="http://schemas.openxmlformats.org/drawingml/2006/main" xmlns:r="http://schemas.openxmlformats.org/officeDocument/2006/relationships" xmlns:p="http://schemas.openxmlformats.org/presentationml/2006/main">
  <p:tag name="SHAPE_LOCKS" val="3"/>
</p:tagLst>
</file>

<file path=ppt/tags/tag23.xml><?xml version="1.0" encoding="utf-8"?>
<p:tagLst xmlns:a="http://schemas.openxmlformats.org/drawingml/2006/main" xmlns:r="http://schemas.openxmlformats.org/officeDocument/2006/relationships" xmlns:p="http://schemas.openxmlformats.org/presentationml/2006/main">
  <p:tag name="SHAPE_LOCKS" val="3"/>
</p:tagLst>
</file>

<file path=ppt/tags/tag24.xml><?xml version="1.0" encoding="utf-8"?>
<p:tagLst xmlns:a="http://schemas.openxmlformats.org/drawingml/2006/main" xmlns:r="http://schemas.openxmlformats.org/officeDocument/2006/relationships" xmlns:p="http://schemas.openxmlformats.org/presentationml/2006/main">
  <p:tag name="SHAPE_LOCKS" val="3"/>
</p:tagLst>
</file>

<file path=ppt/tags/tag3.xml><?xml version="1.0" encoding="utf-8"?>
<p:tagLst xmlns:a="http://schemas.openxmlformats.org/drawingml/2006/main" xmlns:r="http://schemas.openxmlformats.org/officeDocument/2006/relationships" xmlns:p="http://schemas.openxmlformats.org/presentationml/2006/main">
  <p:tag name="SHAPE_LOCKS" val="7"/>
</p:tagLst>
</file>

<file path=ppt/tags/tag4.xml><?xml version="1.0" encoding="utf-8"?>
<p:tagLst xmlns:a="http://schemas.openxmlformats.org/drawingml/2006/main" xmlns:r="http://schemas.openxmlformats.org/officeDocument/2006/relationships" xmlns:p="http://schemas.openxmlformats.org/presentationml/2006/main">
  <p:tag name="SHAPE_LOCKS" val="7"/>
</p:tagLst>
</file>

<file path=ppt/tags/tag5.xml><?xml version="1.0" encoding="utf-8"?>
<p:tagLst xmlns:a="http://schemas.openxmlformats.org/drawingml/2006/main" xmlns:r="http://schemas.openxmlformats.org/officeDocument/2006/relationships" xmlns:p="http://schemas.openxmlformats.org/presentationml/2006/main">
  <p:tag name="SHAPE_LOCKS" val="7"/>
</p:tagLst>
</file>

<file path=ppt/tags/tag6.xml><?xml version="1.0" encoding="utf-8"?>
<p:tagLst xmlns:a="http://schemas.openxmlformats.org/drawingml/2006/main" xmlns:r="http://schemas.openxmlformats.org/officeDocument/2006/relationships" xmlns:p="http://schemas.openxmlformats.org/presentationml/2006/main">
  <p:tag name="SHAPE_LOCKS" val="7"/>
</p:tagLst>
</file>

<file path=ppt/tags/tag7.xml><?xml version="1.0" encoding="utf-8"?>
<p:tagLst xmlns:a="http://schemas.openxmlformats.org/drawingml/2006/main" xmlns:r="http://schemas.openxmlformats.org/officeDocument/2006/relationships" xmlns:p="http://schemas.openxmlformats.org/presentationml/2006/main">
  <p:tag name="SHAPE_LOCKS" val="3"/>
</p:tagLst>
</file>

<file path=ppt/tags/tag8.xml><?xml version="1.0" encoding="utf-8"?>
<p:tagLst xmlns:a="http://schemas.openxmlformats.org/drawingml/2006/main" xmlns:r="http://schemas.openxmlformats.org/officeDocument/2006/relationships" xmlns:p="http://schemas.openxmlformats.org/presentationml/2006/main">
  <p:tag name="SHAPE_LOCKS" val="3"/>
</p:tagLst>
</file>

<file path=ppt/tags/tag9.xml><?xml version="1.0" encoding="utf-8"?>
<p:tagLst xmlns:a="http://schemas.openxmlformats.org/drawingml/2006/main" xmlns:r="http://schemas.openxmlformats.org/officeDocument/2006/relationships" xmlns:p="http://schemas.openxmlformats.org/presentationml/2006/main">
  <p:tag name="SHAPE_LOCKS" val="3"/>
</p:tagLst>
</file>

<file path=ppt/theme/theme1.xml><?xml version="1.0" encoding="utf-8"?>
<a:theme xmlns:a="http://schemas.openxmlformats.org/drawingml/2006/main" name="Office">
  <a:themeElements>
    <a:clrScheme name="Fakultät für Angewandte Informatik">
      <a:dk1>
        <a:sysClr val="windowText" lastClr="000000"/>
      </a:dk1>
      <a:lt1>
        <a:sysClr val="window" lastClr="FFFFFF"/>
      </a:lt1>
      <a:dk2>
        <a:srgbClr val="489324"/>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fontScheme name="UA_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Einrichtungen, Kommunikation">
        <a:dk1>
          <a:sysClr val="windowText" lastClr="000000"/>
        </a:dk1>
        <a:lt1>
          <a:sysClr val="window" lastClr="FFFFFF"/>
        </a:lt1>
        <a:dk2>
          <a:srgbClr val="AD007C"/>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Katholisch-Theologische Fakultät">
        <a:dk1>
          <a:sysClr val="windowText" lastClr="000000"/>
        </a:dk1>
        <a:lt1>
          <a:sysClr val="window" lastClr="FFFFFF"/>
        </a:lt1>
        <a:dk2>
          <a:srgbClr val="F6A800"/>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Philosophisch-Sozialwissenschaftliche Fakultät">
        <a:dk1>
          <a:sysClr val="windowText" lastClr="000000"/>
        </a:dk1>
        <a:lt1>
          <a:sysClr val="window" lastClr="FFFFFF"/>
        </a:lt1>
        <a:dk2>
          <a:srgbClr val="EB690B"/>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Philologisch-Historische Fakultät">
        <a:dk1>
          <a:sysClr val="windowText" lastClr="000000"/>
        </a:dk1>
        <a:lt1>
          <a:sysClr val="window" lastClr="FFFFFF"/>
        </a:lt1>
        <a:dk2>
          <a:srgbClr val="D4002D"/>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Wirtschaftswissenschaftliche Fakultät">
        <a:dk1>
          <a:sysClr val="windowText" lastClr="000000"/>
        </a:dk1>
        <a:lt1>
          <a:sysClr val="window" lastClr="FFFFFF"/>
        </a:lt1>
        <a:dk2>
          <a:srgbClr val="00AECF"/>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Juristische Fakultät">
        <a:dk1>
          <a:sysClr val="windowText" lastClr="000000"/>
        </a:dk1>
        <a:lt1>
          <a:sysClr val="window" lastClr="FFFFFF"/>
        </a:lt1>
        <a:dk2>
          <a:srgbClr val="0087C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Medizinische Fakultät">
        <a:dk1>
          <a:sysClr val="windowText" lastClr="000000"/>
        </a:dk1>
        <a:lt1>
          <a:sysClr val="window" lastClr="FFFFFF"/>
        </a:lt1>
        <a:dk2>
          <a:srgbClr val="15558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Fakultät für Angewandte Informatik">
        <a:dk1>
          <a:sysClr val="windowText" lastClr="000000"/>
        </a:dk1>
        <a:lt1>
          <a:sysClr val="window" lastClr="FFFFFF"/>
        </a:lt1>
        <a:dk2>
          <a:srgbClr val="489324"/>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Mathematisch-Naturwissenschaftliche Fakultät">
        <a:dk1>
          <a:sysClr val="windowText" lastClr="000000"/>
        </a:dk1>
        <a:lt1>
          <a:sysClr val="window" lastClr="FFFFFF"/>
        </a:lt1>
        <a:dk2>
          <a:srgbClr val="00656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Universitätsleitung, gesamtuniversitär">
        <a:dk1>
          <a:sysClr val="windowText" lastClr="000000"/>
        </a:dk1>
        <a:lt1>
          <a:sysClr val="window" lastClr="FFFFFF"/>
        </a:lt1>
        <a:dk2>
          <a:srgbClr val="B3B3B3"/>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Lst>
  <a:custClrLst>
    <a:custClr name="Einrichtungen, Kommunikation">
      <a:srgbClr val="AD007C"/>
    </a:custClr>
    <a:custClr name="Katholisch-Theologische Fakultät">
      <a:srgbClr val="F6A800"/>
    </a:custClr>
    <a:custClr name="Philosophisch-Sozialwissenschaftliche Fakultät">
      <a:srgbClr val="EB690B"/>
    </a:custClr>
    <a:custClr name="Philologisch-Historische Fakultät">
      <a:srgbClr val="D4002D"/>
    </a:custClr>
    <a:custClr name="Wirtschaftswissenschaftliche Fakultät">
      <a:srgbClr val="00AECF"/>
    </a:custClr>
    <a:custClr name="Juristische Fakultät">
      <a:srgbClr val="0087C1"/>
    </a:custClr>
    <a:custClr name="Medizinische Fakultät">
      <a:srgbClr val="155581"/>
    </a:custClr>
    <a:custClr name="Fakultät für Angewandte Informatik">
      <a:srgbClr val="489324"/>
    </a:custClr>
    <a:custClr name="Mathematisch-Naturwissenschaftliche Fakultät">
      <a:srgbClr val="006561"/>
    </a:custClr>
    <a:custClr name="Universitätsleitung, gesamtuniversitär">
      <a:srgbClr val="B3B3B3"/>
    </a:custClr>
  </a:custClrLst>
  <a:extLst>
    <a:ext uri="{05A4C25C-085E-4340-85A3-A5531E510DB2}">
      <thm15:themeFamily xmlns:thm15="http://schemas.microsoft.com/office/thememl/2012/main" name="Präsentation1" id="{ECDE5418-DEEB-47AF-863D-0C6C2A35824C}" vid="{402D3E7A-CAC9-424D-AAC4-92021549A321}"/>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Vorlage_Uni_FAI</Template>
  <TotalTime>0</TotalTime>
  <Words>1176</Words>
  <Application>Microsoft Office PowerPoint</Application>
  <PresentationFormat>Breitbild</PresentationFormat>
  <Paragraphs>222</Paragraphs>
  <Slides>28</Slides>
  <Notes>5</Notes>
  <HiddenSlides>0</HiddenSlides>
  <MMClips>0</MMClips>
  <ScaleCrop>false</ScaleCrop>
  <HeadingPairs>
    <vt:vector size="6" baseType="variant">
      <vt:variant>
        <vt:lpstr>Verwendete Schriftarten</vt:lpstr>
      </vt:variant>
      <vt:variant>
        <vt:i4>4</vt:i4>
      </vt:variant>
      <vt:variant>
        <vt:lpstr>Design</vt:lpstr>
      </vt:variant>
      <vt:variant>
        <vt:i4>1</vt:i4>
      </vt:variant>
      <vt:variant>
        <vt:lpstr>Folientitel</vt:lpstr>
      </vt:variant>
      <vt:variant>
        <vt:i4>28</vt:i4>
      </vt:variant>
    </vt:vector>
  </HeadingPairs>
  <TitlesOfParts>
    <vt:vector size="33" baseType="lpstr">
      <vt:lpstr>Arial</vt:lpstr>
      <vt:lpstr>Arial Black</vt:lpstr>
      <vt:lpstr>Symbol</vt:lpstr>
      <vt:lpstr>Wingdings</vt:lpstr>
      <vt:lpstr>Office</vt:lpstr>
      <vt:lpstr>Hackerethik</vt:lpstr>
      <vt:lpstr>Agenda</vt:lpstr>
      <vt:lpstr>Einführung</vt:lpstr>
      <vt:lpstr>Cyberkriminalität</vt:lpstr>
      <vt:lpstr>PowerPoint-Präsentation</vt:lpstr>
      <vt:lpstr>Das Bild eines Hackers</vt:lpstr>
      <vt:lpstr>Hacker: Begriff im Wandel der Zeit</vt:lpstr>
      <vt:lpstr>Hacker: Begriff im Wandel der Zeit</vt:lpstr>
      <vt:lpstr>Hacker: Begriff im Wandel der Zeit</vt:lpstr>
      <vt:lpstr>Freie Software Bewegung</vt:lpstr>
      <vt:lpstr>PowerPoint-Präsentation</vt:lpstr>
      <vt:lpstr>Geschichtliche Einordnung</vt:lpstr>
      <vt:lpstr>Jargon File</vt:lpstr>
      <vt:lpstr>Steven Levy</vt:lpstr>
      <vt:lpstr>Chaos Computer Club (CCC)</vt:lpstr>
      <vt:lpstr>Grundsätze des CCC</vt:lpstr>
      <vt:lpstr>Gegenüberstellung</vt:lpstr>
      <vt:lpstr>PowerPoint-Präsentation</vt:lpstr>
      <vt:lpstr>White-Hats (Ethical Hacking)</vt:lpstr>
      <vt:lpstr>Black-Hats (Ethical Hacking)</vt:lpstr>
      <vt:lpstr>Grey-Hats</vt:lpstr>
      <vt:lpstr>PowerPoint-Präsentation</vt:lpstr>
      <vt:lpstr>Begriffserklärung</vt:lpstr>
      <vt:lpstr>Gruppen und Aktionen</vt:lpstr>
      <vt:lpstr>PowerPoint-Präsentation</vt:lpstr>
      <vt:lpstr>Berührungspunkte mit der Digitalen Ethik</vt:lpstr>
      <vt:lpstr>Dimensionen der Digitalen Ethik</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ein- oder mehrzeilig</dc:title>
  <dc:creator>Frantz Niklas Prochaska</dc:creator>
  <cp:lastModifiedBy>Frantz Niklas Prochaska</cp:lastModifiedBy>
  <cp:revision>10</cp:revision>
  <dcterms:created xsi:type="dcterms:W3CDTF">2022-01-13T19:30:38Z</dcterms:created>
  <dcterms:modified xsi:type="dcterms:W3CDTF">2022-01-14T21:52:01Z</dcterms:modified>
</cp:coreProperties>
</file>